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ppt/theme/themeOverride15.xml" ContentType="application/vnd.openxmlformats-officedocument.themeOverride+xml"/>
  <Override PartName="/ppt/theme/themeOverride16.xml" ContentType="application/vnd.openxmlformats-officedocument.themeOverride+xml"/>
  <Override PartName="/ppt/theme/themeOverride17.xml" ContentType="application/vnd.openxmlformats-officedocument.themeOverride+xml"/>
  <Override PartName="/ppt/theme/themeOverride18.xml" ContentType="application/vnd.openxmlformats-officedocument.themeOverride+xml"/>
  <Override PartName="/ppt/theme/themeOverride19.xml" ContentType="application/vnd.openxmlformats-officedocument.themeOverride+xml"/>
  <Override PartName="/ppt/theme/themeOverride20.xml" ContentType="application/vnd.openxmlformats-officedocument.themeOverride+xml"/>
  <Override PartName="/ppt/theme/themeOverride21.xml" ContentType="application/vnd.openxmlformats-officedocument.themeOverride+xml"/>
  <Override PartName="/ppt/theme/themeOverride22.xml" ContentType="application/vnd.openxmlformats-officedocument.themeOverride+xml"/>
  <Override PartName="/ppt/theme/themeOverride23.xml" ContentType="application/vnd.openxmlformats-officedocument.themeOverride+xml"/>
  <Override PartName="/ppt/theme/themeOverride24.xml" ContentType="application/vnd.openxmlformats-officedocument.themeOverride+xml"/>
  <Override PartName="/ppt/theme/themeOverride25.xml" ContentType="application/vnd.openxmlformats-officedocument.themeOverride+xml"/>
  <Override PartName="/ppt/theme/themeOverride26.xml" ContentType="application/vnd.openxmlformats-officedocument.themeOverride+xml"/>
  <Override PartName="/ppt/theme/themeOverride27.xml" ContentType="application/vnd.openxmlformats-officedocument.themeOverride+xml"/>
  <Override PartName="/ppt/theme/themeOverride28.xml" ContentType="application/vnd.openxmlformats-officedocument.themeOverride+xml"/>
  <Override PartName="/ppt/theme/themeOverride29.xml" ContentType="application/vnd.openxmlformats-officedocument.themeOverride+xml"/>
  <Override PartName="/ppt/theme/themeOverride30.xml" ContentType="application/vnd.openxmlformats-officedocument.themeOverride+xml"/>
  <Override PartName="/ppt/theme/themeOverride31.xml" ContentType="application/vnd.openxmlformats-officedocument.themeOverride+xml"/>
  <Override PartName="/ppt/theme/themeOverride32.xml" ContentType="application/vnd.openxmlformats-officedocument.themeOverride+xml"/>
  <Override PartName="/ppt/theme/themeOverride33.xml" ContentType="application/vnd.openxmlformats-officedocument.themeOverride+xml"/>
  <Override PartName="/ppt/theme/themeOverride34.xml" ContentType="application/vnd.openxmlformats-officedocument.themeOverride+xml"/>
  <Override PartName="/ppt/theme/themeOverride35.xml" ContentType="application/vnd.openxmlformats-officedocument.themeOverride+xml"/>
  <Override PartName="/ppt/theme/themeOverride36.xml" ContentType="application/vnd.openxmlformats-officedocument.themeOverride+xml"/>
  <Override PartName="/ppt/theme/themeOverride37.xml" ContentType="application/vnd.openxmlformats-officedocument.themeOverride+xml"/>
  <Override PartName="/ppt/theme/themeOverride38.xml" ContentType="application/vnd.openxmlformats-officedocument.themeOverride+xml"/>
  <Override PartName="/ppt/theme/themeOverride39.xml" ContentType="application/vnd.openxmlformats-officedocument.themeOverride+xml"/>
  <Override PartName="/ppt/theme/themeOverride40.xml" ContentType="application/vnd.openxmlformats-officedocument.themeOverride+xml"/>
  <Override PartName="/ppt/theme/themeOverride41.xml" ContentType="application/vnd.openxmlformats-officedocument.themeOverride+xml"/>
  <Override PartName="/ppt/theme/themeOverride42.xml" ContentType="application/vnd.openxmlformats-officedocument.themeOverride+xml"/>
  <Override PartName="/ppt/theme/themeOverride43.xml" ContentType="application/vnd.openxmlformats-officedocument.themeOverride+xml"/>
  <Override PartName="/ppt/theme/themeOverride44.xml" ContentType="application/vnd.openxmlformats-officedocument.themeOverride+xml"/>
  <Override PartName="/ppt/theme/themeOverride45.xml" ContentType="application/vnd.openxmlformats-officedocument.themeOverride+xml"/>
  <Override PartName="/ppt/theme/themeOverride46.xml" ContentType="application/vnd.openxmlformats-officedocument.themeOverride+xml"/>
  <Override PartName="/ppt/theme/themeOverride47.xml" ContentType="application/vnd.openxmlformats-officedocument.themeOverride+xml"/>
  <Override PartName="/ppt/theme/themeOverride48.xml" ContentType="application/vnd.openxmlformats-officedocument.themeOverride+xml"/>
  <Override PartName="/ppt/theme/themeOverride49.xml" ContentType="application/vnd.openxmlformats-officedocument.themeOverride+xml"/>
  <Override PartName="/ppt/theme/themeOverride50.xml" ContentType="application/vnd.openxmlformats-officedocument.themeOverride+xml"/>
  <Override PartName="/ppt/theme/themeOverride51.xml" ContentType="application/vnd.openxmlformats-officedocument.themeOverride+xml"/>
  <Override PartName="/ppt/theme/themeOverride52.xml" ContentType="application/vnd.openxmlformats-officedocument.themeOverride+xml"/>
  <Override PartName="/ppt/theme/themeOverride53.xml" ContentType="application/vnd.openxmlformats-officedocument.themeOverride+xml"/>
  <Override PartName="/ppt/theme/themeOverride54.xml" ContentType="application/vnd.openxmlformats-officedocument.themeOverride+xml"/>
  <Override PartName="/ppt/theme/themeOverride55.xml" ContentType="application/vnd.openxmlformats-officedocument.themeOverride+xml"/>
  <Override PartName="/ppt/theme/themeOverride56.xml" ContentType="application/vnd.openxmlformats-officedocument.themeOverride+xml"/>
  <Override PartName="/ppt/theme/themeOverride57.xml" ContentType="application/vnd.openxmlformats-officedocument.themeOverride+xml"/>
  <Override PartName="/ppt/theme/themeOverride58.xml" ContentType="application/vnd.openxmlformats-officedocument.themeOverride+xml"/>
  <Override PartName="/ppt/theme/themeOverride59.xml" ContentType="application/vnd.openxmlformats-officedocument.themeOverride+xml"/>
  <Override PartName="/ppt/theme/themeOverride60.xml" ContentType="application/vnd.openxmlformats-officedocument.themeOverride+xml"/>
  <Override PartName="/ppt/theme/themeOverride61.xml" ContentType="application/vnd.openxmlformats-officedocument.themeOverride+xml"/>
  <Override PartName="/ppt/theme/themeOverride62.xml" ContentType="application/vnd.openxmlformats-officedocument.themeOverride+xml"/>
  <Override PartName="/ppt/theme/themeOverride63.xml" ContentType="application/vnd.openxmlformats-officedocument.themeOverrid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2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3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4.xml" ContentType="application/vnd.openxmlformats-officedocument.theme+xml"/>
  <Override PartName="/ppt/theme/themeOverride64.xml" ContentType="application/vnd.openxmlformats-officedocument.themeOverride+xml"/>
  <Override PartName="/ppt/theme/themeOverride65.xml" ContentType="application/vnd.openxmlformats-officedocument.themeOverride+xml"/>
  <Override PartName="/ppt/theme/themeOverride66.xml" ContentType="application/vnd.openxmlformats-officedocument.themeOverride+xml"/>
  <Override PartName="/ppt/theme/themeOverride67.xml" ContentType="application/vnd.openxmlformats-officedocument.themeOverride+xml"/>
  <Override PartName="/ppt/theme/themeOverride68.xml" ContentType="application/vnd.openxmlformats-officedocument.themeOverride+xml"/>
  <Override PartName="/ppt/theme/themeOverride69.xml" ContentType="application/vnd.openxmlformats-officedocument.themeOverride+xml"/>
  <Override PartName="/ppt/theme/themeOverride70.xml" ContentType="application/vnd.openxmlformats-officedocument.themeOverride+xml"/>
  <Override PartName="/ppt/theme/themeOverride71.xml" ContentType="application/vnd.openxmlformats-officedocument.themeOverride+xml"/>
  <Override PartName="/ppt/theme/themeOverride72.xml" ContentType="application/vnd.openxmlformats-officedocument.themeOverride+xml"/>
  <Override PartName="/ppt/theme/themeOverride73.xml" ContentType="application/vnd.openxmlformats-officedocument.themeOverride+xml"/>
  <Override PartName="/ppt/theme/themeOverride74.xml" ContentType="application/vnd.openxmlformats-officedocument.themeOverride+xml"/>
  <Override PartName="/ppt/theme/themeOverride75.xml" ContentType="application/vnd.openxmlformats-officedocument.themeOverride+xml"/>
  <Override PartName="/ppt/theme/themeOverride76.xml" ContentType="application/vnd.openxmlformats-officedocument.themeOverride+xml"/>
  <Override PartName="/ppt/theme/themeOverride77.xml" ContentType="application/vnd.openxmlformats-officedocument.themeOverride+xml"/>
  <Override PartName="/ppt/theme/themeOverride78.xml" ContentType="application/vnd.openxmlformats-officedocument.themeOverride+xml"/>
  <Override PartName="/ppt/theme/themeOverride79.xml" ContentType="application/vnd.openxmlformats-officedocument.themeOverride+xml"/>
  <Override PartName="/ppt/theme/themeOverride80.xml" ContentType="application/vnd.openxmlformats-officedocument.themeOverride+xml"/>
  <Override PartName="/ppt/theme/themeOverride81.xml" ContentType="application/vnd.openxmlformats-officedocument.themeOverride+xml"/>
  <Override PartName="/ppt/theme/themeOverride82.xml" ContentType="application/vnd.openxmlformats-officedocument.themeOverride+xml"/>
  <Override PartName="/ppt/theme/themeOverride83.xml" ContentType="application/vnd.openxmlformats-officedocument.themeOverride+xml"/>
  <Override PartName="/ppt/theme/themeOverride84.xml" ContentType="application/vnd.openxmlformats-officedocument.themeOverride+xml"/>
  <Override PartName="/ppt/theme/themeOverride85.xml" ContentType="application/vnd.openxmlformats-officedocument.themeOverride+xml"/>
  <Override PartName="/ppt/theme/themeOverride86.xml" ContentType="application/vnd.openxmlformats-officedocument.themeOverride+xml"/>
  <Override PartName="/ppt/theme/themeOverride87.xml" ContentType="application/vnd.openxmlformats-officedocument.themeOverride+xml"/>
  <Override PartName="/ppt/theme/themeOverride88.xml" ContentType="application/vnd.openxmlformats-officedocument.themeOverride+xml"/>
  <Override PartName="/ppt/theme/themeOverride89.xml" ContentType="application/vnd.openxmlformats-officedocument.themeOverride+xml"/>
  <Override PartName="/ppt/theme/themeOverride90.xml" ContentType="application/vnd.openxmlformats-officedocument.themeOverride+xml"/>
  <Override PartName="/ppt/theme/themeOverride91.xml" ContentType="application/vnd.openxmlformats-officedocument.themeOverride+xml"/>
  <Override PartName="/ppt/theme/themeOverride92.xml" ContentType="application/vnd.openxmlformats-officedocument.themeOverride+xml"/>
  <Override PartName="/ppt/theme/themeOverride93.xml" ContentType="application/vnd.openxmlformats-officedocument.themeOverride+xml"/>
  <Override PartName="/ppt/theme/themeOverride94.xml" ContentType="application/vnd.openxmlformats-officedocument.themeOverride+xml"/>
  <Override PartName="/ppt/theme/themeOverride95.xml" ContentType="application/vnd.openxmlformats-officedocument.themeOverride+xml"/>
  <Override PartName="/ppt/theme/themeOverride96.xml" ContentType="application/vnd.openxmlformats-officedocument.themeOverride+xml"/>
  <Override PartName="/ppt/theme/themeOverride97.xml" ContentType="application/vnd.openxmlformats-officedocument.themeOverride+xml"/>
  <Override PartName="/ppt/theme/themeOverride98.xml" ContentType="application/vnd.openxmlformats-officedocument.themeOverride+xml"/>
  <Override PartName="/ppt/theme/themeOverride99.xml" ContentType="application/vnd.openxmlformats-officedocument.themeOverride+xml"/>
  <Override PartName="/ppt/theme/themeOverride100.xml" ContentType="application/vnd.openxmlformats-officedocument.themeOverride+xml"/>
  <Override PartName="/ppt/theme/themeOverride101.xml" ContentType="application/vnd.openxmlformats-officedocument.themeOverride+xml"/>
  <Override PartName="/ppt/theme/themeOverride102.xml" ContentType="application/vnd.openxmlformats-officedocument.themeOverride+xml"/>
  <Override PartName="/ppt/theme/themeOverride103.xml" ContentType="application/vnd.openxmlformats-officedocument.themeOverride+xml"/>
  <Override PartName="/ppt/theme/themeOverride104.xml" ContentType="application/vnd.openxmlformats-officedocument.themeOverride+xml"/>
  <Override PartName="/ppt/theme/themeOverride105.xml" ContentType="application/vnd.openxmlformats-officedocument.themeOverride+xml"/>
  <Override PartName="/ppt/theme/themeOverride106.xml" ContentType="application/vnd.openxmlformats-officedocument.themeOverride+xml"/>
  <Override PartName="/ppt/theme/themeOverride107.xml" ContentType="application/vnd.openxmlformats-officedocument.themeOverride+xml"/>
  <Override PartName="/ppt/theme/themeOverride108.xml" ContentType="application/vnd.openxmlformats-officedocument.themeOverride+xml"/>
  <Override PartName="/ppt/theme/themeOverride109.xml" ContentType="application/vnd.openxmlformats-officedocument.themeOverride+xml"/>
  <Override PartName="/ppt/theme/themeOverride110.xml" ContentType="application/vnd.openxmlformats-officedocument.themeOverride+xml"/>
  <Override PartName="/ppt/theme/themeOverride111.xml" ContentType="application/vnd.openxmlformats-officedocument.themeOverride+xml"/>
  <Override PartName="/ppt/theme/themeOverride112.xml" ContentType="application/vnd.openxmlformats-officedocument.themeOverride+xml"/>
  <Override PartName="/ppt/theme/themeOverride113.xml" ContentType="application/vnd.openxmlformats-officedocument.themeOverride+xml"/>
  <Override PartName="/ppt/theme/themeOverride114.xml" ContentType="application/vnd.openxmlformats-officedocument.themeOverride+xml"/>
  <Override PartName="/ppt/theme/themeOverride115.xml" ContentType="application/vnd.openxmlformats-officedocument.themeOverride+xml"/>
  <Override PartName="/ppt/theme/themeOverride116.xml" ContentType="application/vnd.openxmlformats-officedocument.themeOverride+xml"/>
  <Override PartName="/ppt/theme/themeOverride117.xml" ContentType="application/vnd.openxmlformats-officedocument.themeOverride+xml"/>
  <Override PartName="/ppt/theme/themeOverride118.xml" ContentType="application/vnd.openxmlformats-officedocument.themeOverride+xml"/>
  <Override PartName="/ppt/theme/themeOverride119.xml" ContentType="application/vnd.openxmlformats-officedocument.themeOverride+xml"/>
  <Override PartName="/ppt/theme/themeOverride120.xml" ContentType="application/vnd.openxmlformats-officedocument.themeOverride+xml"/>
  <Override PartName="/ppt/theme/themeOverride121.xml" ContentType="application/vnd.openxmlformats-officedocument.themeOverride+xml"/>
  <Override PartName="/ppt/theme/themeOverride122.xml" ContentType="application/vnd.openxmlformats-officedocument.themeOverride+xml"/>
  <Override PartName="/ppt/theme/themeOverride123.xml" ContentType="application/vnd.openxmlformats-officedocument.themeOverride+xml"/>
  <Override PartName="/ppt/theme/themeOverride124.xml" ContentType="application/vnd.openxmlformats-officedocument.themeOverride+xml"/>
  <Override PartName="/ppt/theme/themeOverride125.xml" ContentType="application/vnd.openxmlformats-officedocument.themeOverride+xml"/>
  <Override PartName="/ppt/theme/themeOverride126.xml" ContentType="application/vnd.openxmlformats-officedocument.themeOverride+xml"/>
  <Override PartName="/ppt/tags/tag1.xml" ContentType="application/vnd.openxmlformats-officedocument.presentationml.tags+xml"/>
  <Override PartName="/ppt/theme/themeOverride127.xml" ContentType="application/vnd.openxmlformats-officedocument.themeOverride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theme/theme6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Override128.xml" ContentType="application/vnd.openxmlformats-officedocument.themeOverride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theme/theme7.xml" ContentType="application/vnd.openxmlformats-officedocument.theme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4"/>
    <p:sldMasterId id="2147483739" r:id="rId5"/>
    <p:sldMasterId id="2147483745" r:id="rId6"/>
    <p:sldMasterId id="2147483751" r:id="rId7"/>
    <p:sldMasterId id="2147483824" r:id="rId8"/>
    <p:sldMasterId id="2147483834" r:id="rId9"/>
    <p:sldMasterId id="2147484003" r:id="rId10"/>
    <p:sldMasterId id="2147484145" r:id="rId11"/>
  </p:sldMasterIdLst>
  <p:notesMasterIdLst>
    <p:notesMasterId r:id="rId37"/>
  </p:notesMasterIdLst>
  <p:sldIdLst>
    <p:sldId id="256" r:id="rId12"/>
    <p:sldId id="3740" r:id="rId13"/>
    <p:sldId id="3760" r:id="rId14"/>
    <p:sldId id="3761" r:id="rId15"/>
    <p:sldId id="3762" r:id="rId16"/>
    <p:sldId id="3763" r:id="rId17"/>
    <p:sldId id="3741" r:id="rId18"/>
    <p:sldId id="3742" r:id="rId19"/>
    <p:sldId id="3743" r:id="rId20"/>
    <p:sldId id="3745" r:id="rId21"/>
    <p:sldId id="3729" r:id="rId22"/>
    <p:sldId id="3746" r:id="rId23"/>
    <p:sldId id="3706" r:id="rId24"/>
    <p:sldId id="3710" r:id="rId25"/>
    <p:sldId id="3750" r:id="rId26"/>
    <p:sldId id="3716" r:id="rId27"/>
    <p:sldId id="3707" r:id="rId28"/>
    <p:sldId id="3711" r:id="rId29"/>
    <p:sldId id="3751" r:id="rId30"/>
    <p:sldId id="3708" r:id="rId31"/>
    <p:sldId id="3712" r:id="rId32"/>
    <p:sldId id="3752" r:id="rId33"/>
    <p:sldId id="3714" r:id="rId34"/>
    <p:sldId id="3709" r:id="rId35"/>
    <p:sldId id="3753" r:id="rId36"/>
  </p:sldIdLst>
  <p:sldSz cx="12192000" cy="6858000"/>
  <p:notesSz cx="6858000" cy="9144000"/>
  <p:defaultTextStyle>
    <a:defPPr>
      <a:defRPr lang="en-US"/>
    </a:defPPr>
    <a:lvl1pPr algn="l" defTabSz="457189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OmnesMSC Regular" charset="0"/>
        <a:ea typeface="ＭＳ Ｐゴシック" charset="0"/>
        <a:cs typeface="ＭＳ Ｐゴシック" charset="0"/>
      </a:defRPr>
    </a:lvl1pPr>
    <a:lvl2pPr marL="457189" algn="l" defTabSz="457189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OmnesMSC Regular" charset="0"/>
        <a:ea typeface="ＭＳ Ｐゴシック" charset="0"/>
        <a:cs typeface="ＭＳ Ｐゴシック" charset="0"/>
      </a:defRPr>
    </a:lvl2pPr>
    <a:lvl3pPr marL="914378" algn="l" defTabSz="457189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OmnesMSC Regular" charset="0"/>
        <a:ea typeface="ＭＳ Ｐゴシック" charset="0"/>
        <a:cs typeface="ＭＳ Ｐゴシック" charset="0"/>
      </a:defRPr>
    </a:lvl3pPr>
    <a:lvl4pPr marL="1371566" algn="l" defTabSz="457189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OmnesMSC Regular" charset="0"/>
        <a:ea typeface="ＭＳ Ｐゴシック" charset="0"/>
        <a:cs typeface="ＭＳ Ｐゴシック" charset="0"/>
      </a:defRPr>
    </a:lvl4pPr>
    <a:lvl5pPr marL="1828754" algn="l" defTabSz="457189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OmnesMSC Regular" charset="0"/>
        <a:ea typeface="ＭＳ Ｐゴシック" charset="0"/>
        <a:cs typeface="ＭＳ Ｐゴシック" charset="0"/>
      </a:defRPr>
    </a:lvl5pPr>
    <a:lvl6pPr marL="2285943" algn="l" defTabSz="457189" rtl="0" eaLnBrk="1" latinLnBrk="0" hangingPunct="1">
      <a:defRPr kern="1200">
        <a:solidFill>
          <a:schemeClr val="tx1"/>
        </a:solidFill>
        <a:latin typeface="OmnesMSC Regular" charset="0"/>
        <a:ea typeface="ＭＳ Ｐゴシック" charset="0"/>
        <a:cs typeface="ＭＳ Ｐゴシック" charset="0"/>
      </a:defRPr>
    </a:lvl6pPr>
    <a:lvl7pPr marL="2743132" algn="l" defTabSz="457189" rtl="0" eaLnBrk="1" latinLnBrk="0" hangingPunct="1">
      <a:defRPr kern="1200">
        <a:solidFill>
          <a:schemeClr val="tx1"/>
        </a:solidFill>
        <a:latin typeface="OmnesMSC Regular" charset="0"/>
        <a:ea typeface="ＭＳ Ｐゴシック" charset="0"/>
        <a:cs typeface="ＭＳ Ｐゴシック" charset="0"/>
      </a:defRPr>
    </a:lvl7pPr>
    <a:lvl8pPr marL="3200320" algn="l" defTabSz="457189" rtl="0" eaLnBrk="1" latinLnBrk="0" hangingPunct="1">
      <a:defRPr kern="1200">
        <a:solidFill>
          <a:schemeClr val="tx1"/>
        </a:solidFill>
        <a:latin typeface="OmnesMSC Regular" charset="0"/>
        <a:ea typeface="ＭＳ Ｐゴシック" charset="0"/>
        <a:cs typeface="ＭＳ Ｐゴシック" charset="0"/>
      </a:defRPr>
    </a:lvl8pPr>
    <a:lvl9pPr marL="3657509" algn="l" defTabSz="457189" rtl="0" eaLnBrk="1" latinLnBrk="0" hangingPunct="1">
      <a:defRPr kern="1200">
        <a:solidFill>
          <a:schemeClr val="tx1"/>
        </a:solidFill>
        <a:latin typeface="OmnesMSC Regular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126475-D643-4BF0-92C7-B600535DA202}" v="5" dt="2020-12-24T08:55:55.667"/>
    <p1510:client id="{E67B87C9-6417-478E-8FC0-C05070C11C72}" v="2" dt="2021-02-15T15:28:48.2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9" d="100"/>
          <a:sy n="69" d="100"/>
        </p:scale>
        <p:origin x="93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9.xml"/><Relationship Id="rId2" Type="http://schemas.openxmlformats.org/officeDocument/2006/relationships/slide" Target="../slides/slide16.xml"/><Relationship Id="rId1" Type="http://schemas.openxmlformats.org/officeDocument/2006/relationships/slide" Target="../slides/slide12.xml"/><Relationship Id="rId4" Type="http://schemas.openxmlformats.org/officeDocument/2006/relationships/slide" Target="../slides/slide2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2AFF89D-E2A2-0144-B30D-AC4072E321DD}" type="doc">
      <dgm:prSet loTypeId="urn:microsoft.com/office/officeart/2005/8/layout/default" loCatId="" qsTypeId="urn:microsoft.com/office/officeart/2005/8/quickstyle/simple3" qsCatId="simple" csTypeId="urn:microsoft.com/office/officeart/2005/8/colors/accent1_3" csCatId="accent1" phldr="1"/>
      <dgm:spPr/>
      <dgm:t>
        <a:bodyPr/>
        <a:lstStyle/>
        <a:p>
          <a:endParaRPr lang="en-GB"/>
        </a:p>
      </dgm:t>
    </dgm:pt>
    <dgm:pt modelId="{0CA7D2D9-C0AC-4A4D-9057-7FBA992F5945}">
      <dgm:prSet phldrT="[Text]" custT="1"/>
      <dgm:spPr/>
      <dgm:t>
        <a:bodyPr/>
        <a:lstStyle/>
        <a:p>
          <a:r>
            <a:rPr lang="nl-BE" sz="1600" b="1" dirty="0"/>
            <a:t>Consult </a:t>
          </a:r>
          <a:r>
            <a:rPr lang="nl-BE" sz="1600" b="1" dirty="0" err="1"/>
            <a:t>Usage</a:t>
          </a:r>
          <a:endParaRPr lang="en-GB" sz="1600" b="1" dirty="0"/>
        </a:p>
      </dgm:t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1" action="ppaction://hlinksldjump"/>
          </dgm14:cNvPr>
        </a:ext>
      </dgm:extLst>
    </dgm:pt>
    <dgm:pt modelId="{C58F390C-BCDF-5B42-95D7-A2C40A0AD48A}" type="parTrans" cxnId="{D2F8CD54-5A80-9B44-A752-7BAE0B8B1B95}">
      <dgm:prSet/>
      <dgm:spPr/>
      <dgm:t>
        <a:bodyPr/>
        <a:lstStyle/>
        <a:p>
          <a:endParaRPr lang="en-GB" sz="1100" b="1"/>
        </a:p>
      </dgm:t>
    </dgm:pt>
    <dgm:pt modelId="{CEDEC4E5-2681-AC4C-ADA8-A083B89C4833}" type="sibTrans" cxnId="{D2F8CD54-5A80-9B44-A752-7BAE0B8B1B95}">
      <dgm:prSet/>
      <dgm:spPr/>
      <dgm:t>
        <a:bodyPr/>
        <a:lstStyle/>
        <a:p>
          <a:endParaRPr lang="en-GB" sz="1100" b="1"/>
        </a:p>
      </dgm:t>
    </dgm:pt>
    <dgm:pt modelId="{899B7955-CC67-1149-BFC0-32CF04D6F529}">
      <dgm:prSet phldrT="[Text]" custT="1"/>
      <dgm:spPr/>
      <dgm:t>
        <a:bodyPr/>
        <a:lstStyle/>
        <a:p>
          <a:r>
            <a:rPr lang="en-GB" sz="1600" b="1"/>
            <a:t>Consult Products</a:t>
          </a:r>
        </a:p>
      </dgm:t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2" action="ppaction://hlinksldjump"/>
          </dgm14:cNvPr>
        </a:ext>
      </dgm:extLst>
    </dgm:pt>
    <dgm:pt modelId="{FF13DDB4-8968-4D45-B5EC-D8F232419454}" type="parTrans" cxnId="{6794AFE6-8AC3-6C46-87EE-B5A11175370C}">
      <dgm:prSet/>
      <dgm:spPr/>
      <dgm:t>
        <a:bodyPr/>
        <a:lstStyle/>
        <a:p>
          <a:endParaRPr lang="en-GB" sz="1100" b="1"/>
        </a:p>
      </dgm:t>
    </dgm:pt>
    <dgm:pt modelId="{E0FE364B-113F-0B4E-AC4B-D2A79ED93F36}" type="sibTrans" cxnId="{6794AFE6-8AC3-6C46-87EE-B5A11175370C}">
      <dgm:prSet/>
      <dgm:spPr/>
      <dgm:t>
        <a:bodyPr/>
        <a:lstStyle/>
        <a:p>
          <a:endParaRPr lang="en-GB" sz="1100" b="1"/>
        </a:p>
      </dgm:t>
    </dgm:pt>
    <dgm:pt modelId="{A7BE9999-9DAD-5B4E-A15D-D0880D5C0FF2}">
      <dgm:prSet phldrT="[Text]" custT="1"/>
      <dgm:spPr/>
      <dgm:t>
        <a:bodyPr/>
        <a:lstStyle/>
        <a:p>
          <a:r>
            <a:rPr lang="en-GB" sz="1600" b="1"/>
            <a:t>Invoice Overview &amp; Payments</a:t>
          </a:r>
        </a:p>
      </dgm:t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3" action="ppaction://hlinksldjump"/>
          </dgm14:cNvPr>
        </a:ext>
      </dgm:extLst>
    </dgm:pt>
    <dgm:pt modelId="{D9426C62-C2CE-DC44-AA71-F5B18340C420}" type="parTrans" cxnId="{24E942EF-C539-264E-BA20-8E0F075FF3C8}">
      <dgm:prSet/>
      <dgm:spPr/>
      <dgm:t>
        <a:bodyPr/>
        <a:lstStyle/>
        <a:p>
          <a:endParaRPr lang="en-GB" sz="1100" b="1"/>
        </a:p>
      </dgm:t>
    </dgm:pt>
    <dgm:pt modelId="{02116D59-5960-0842-8CD4-8173AC2F38CA}" type="sibTrans" cxnId="{24E942EF-C539-264E-BA20-8E0F075FF3C8}">
      <dgm:prSet/>
      <dgm:spPr/>
      <dgm:t>
        <a:bodyPr/>
        <a:lstStyle/>
        <a:p>
          <a:endParaRPr lang="en-GB" sz="1100" b="1"/>
        </a:p>
      </dgm:t>
    </dgm:pt>
    <dgm:pt modelId="{5FF01D04-8A5A-F14D-AC9D-009615BC2D41}">
      <dgm:prSet phldrT="[Text]" custT="1"/>
      <dgm:spPr/>
      <dgm:t>
        <a:bodyPr/>
        <a:lstStyle/>
        <a:p>
          <a:r>
            <a:rPr lang="en-GB" sz="1600" b="1" dirty="0"/>
            <a:t>Manage User Profile</a:t>
          </a:r>
        </a:p>
      </dgm:t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4" action="ppaction://hlinksldjump"/>
          </dgm14:cNvPr>
        </a:ext>
      </dgm:extLst>
    </dgm:pt>
    <dgm:pt modelId="{6877B327-0764-5B45-BCB4-682F40C0E28E}" type="parTrans" cxnId="{94925D19-BD0B-3D4C-AF60-E91EF403050D}">
      <dgm:prSet/>
      <dgm:spPr/>
      <dgm:t>
        <a:bodyPr/>
        <a:lstStyle/>
        <a:p>
          <a:endParaRPr lang="en-GB" sz="1100" b="1"/>
        </a:p>
      </dgm:t>
    </dgm:pt>
    <dgm:pt modelId="{3FA798E5-1211-F94C-9AC3-6CAF91B4247C}" type="sibTrans" cxnId="{94925D19-BD0B-3D4C-AF60-E91EF403050D}">
      <dgm:prSet/>
      <dgm:spPr/>
      <dgm:t>
        <a:bodyPr/>
        <a:lstStyle/>
        <a:p>
          <a:endParaRPr lang="en-GB" sz="1100" b="1"/>
        </a:p>
      </dgm:t>
    </dgm:pt>
    <dgm:pt modelId="{AC622D4D-A95A-F743-9983-E0BD2BD19432}" type="pres">
      <dgm:prSet presAssocID="{F2AFF89D-E2A2-0144-B30D-AC4072E321DD}" presName="diagram" presStyleCnt="0">
        <dgm:presLayoutVars>
          <dgm:dir/>
          <dgm:resizeHandles val="exact"/>
        </dgm:presLayoutVars>
      </dgm:prSet>
      <dgm:spPr/>
    </dgm:pt>
    <dgm:pt modelId="{426B729D-2F63-F74E-8A6B-4D7A5A0096E3}" type="pres">
      <dgm:prSet presAssocID="{0CA7D2D9-C0AC-4A4D-9057-7FBA992F5945}" presName="node" presStyleLbl="node1" presStyleIdx="0" presStyleCnt="4">
        <dgm:presLayoutVars>
          <dgm:bulletEnabled val="1"/>
        </dgm:presLayoutVars>
      </dgm:prSet>
      <dgm:spPr/>
    </dgm:pt>
    <dgm:pt modelId="{520C1DA3-4BAE-8247-B3A5-255A684F8F41}" type="pres">
      <dgm:prSet presAssocID="{CEDEC4E5-2681-AC4C-ADA8-A083B89C4833}" presName="sibTrans" presStyleCnt="0"/>
      <dgm:spPr/>
    </dgm:pt>
    <dgm:pt modelId="{65B6BA73-9BB7-1047-A6E4-3C9748960D5E}" type="pres">
      <dgm:prSet presAssocID="{899B7955-CC67-1149-BFC0-32CF04D6F529}" presName="node" presStyleLbl="node1" presStyleIdx="1" presStyleCnt="4">
        <dgm:presLayoutVars>
          <dgm:bulletEnabled val="1"/>
        </dgm:presLayoutVars>
      </dgm:prSet>
      <dgm:spPr/>
    </dgm:pt>
    <dgm:pt modelId="{1A73DE43-69AF-E94B-BC02-3F811AA5A53D}" type="pres">
      <dgm:prSet presAssocID="{E0FE364B-113F-0B4E-AC4B-D2A79ED93F36}" presName="sibTrans" presStyleCnt="0"/>
      <dgm:spPr/>
    </dgm:pt>
    <dgm:pt modelId="{30F0A7BD-17D8-7040-B217-054A63D1F685}" type="pres">
      <dgm:prSet presAssocID="{A7BE9999-9DAD-5B4E-A15D-D0880D5C0FF2}" presName="node" presStyleLbl="node1" presStyleIdx="2" presStyleCnt="4" custLinFactNeighborY="-486">
        <dgm:presLayoutVars>
          <dgm:bulletEnabled val="1"/>
        </dgm:presLayoutVars>
      </dgm:prSet>
      <dgm:spPr/>
    </dgm:pt>
    <dgm:pt modelId="{F04AECA2-9170-5B48-807C-1EAB80C0945F}" type="pres">
      <dgm:prSet presAssocID="{02116D59-5960-0842-8CD4-8173AC2F38CA}" presName="sibTrans" presStyleCnt="0"/>
      <dgm:spPr/>
    </dgm:pt>
    <dgm:pt modelId="{185EFF52-C787-E545-87A1-C610C605CF5D}" type="pres">
      <dgm:prSet presAssocID="{5FF01D04-8A5A-F14D-AC9D-009615BC2D41}" presName="node" presStyleLbl="node1" presStyleIdx="3" presStyleCnt="4">
        <dgm:presLayoutVars>
          <dgm:bulletEnabled val="1"/>
        </dgm:presLayoutVars>
      </dgm:prSet>
      <dgm:spPr/>
    </dgm:pt>
  </dgm:ptLst>
  <dgm:cxnLst>
    <dgm:cxn modelId="{94925D19-BD0B-3D4C-AF60-E91EF403050D}" srcId="{F2AFF89D-E2A2-0144-B30D-AC4072E321DD}" destId="{5FF01D04-8A5A-F14D-AC9D-009615BC2D41}" srcOrd="3" destOrd="0" parTransId="{6877B327-0764-5B45-BCB4-682F40C0E28E}" sibTransId="{3FA798E5-1211-F94C-9AC3-6CAF91B4247C}"/>
    <dgm:cxn modelId="{BBBBC42F-4F60-8540-9B6A-578E1FE8D988}" type="presOf" srcId="{899B7955-CC67-1149-BFC0-32CF04D6F529}" destId="{65B6BA73-9BB7-1047-A6E4-3C9748960D5E}" srcOrd="0" destOrd="0" presId="urn:microsoft.com/office/officeart/2005/8/layout/default"/>
    <dgm:cxn modelId="{F6B2BC3C-B7E9-7D4B-9CDD-6B6595F0320D}" type="presOf" srcId="{F2AFF89D-E2A2-0144-B30D-AC4072E321DD}" destId="{AC622D4D-A95A-F743-9983-E0BD2BD19432}" srcOrd="0" destOrd="0" presId="urn:microsoft.com/office/officeart/2005/8/layout/default"/>
    <dgm:cxn modelId="{D2F8CD54-5A80-9B44-A752-7BAE0B8B1B95}" srcId="{F2AFF89D-E2A2-0144-B30D-AC4072E321DD}" destId="{0CA7D2D9-C0AC-4A4D-9057-7FBA992F5945}" srcOrd="0" destOrd="0" parTransId="{C58F390C-BCDF-5B42-95D7-A2C40A0AD48A}" sibTransId="{CEDEC4E5-2681-AC4C-ADA8-A083B89C4833}"/>
    <dgm:cxn modelId="{5B6D7980-7959-F247-B7D4-831959A0C12E}" type="presOf" srcId="{0CA7D2D9-C0AC-4A4D-9057-7FBA992F5945}" destId="{426B729D-2F63-F74E-8A6B-4D7A5A0096E3}" srcOrd="0" destOrd="0" presId="urn:microsoft.com/office/officeart/2005/8/layout/default"/>
    <dgm:cxn modelId="{D2851B9D-1383-BB4E-A77B-90DC289F6E95}" type="presOf" srcId="{5FF01D04-8A5A-F14D-AC9D-009615BC2D41}" destId="{185EFF52-C787-E545-87A1-C610C605CF5D}" srcOrd="0" destOrd="0" presId="urn:microsoft.com/office/officeart/2005/8/layout/default"/>
    <dgm:cxn modelId="{6794AFE6-8AC3-6C46-87EE-B5A11175370C}" srcId="{F2AFF89D-E2A2-0144-B30D-AC4072E321DD}" destId="{899B7955-CC67-1149-BFC0-32CF04D6F529}" srcOrd="1" destOrd="0" parTransId="{FF13DDB4-8968-4D45-B5EC-D8F232419454}" sibTransId="{E0FE364B-113F-0B4E-AC4B-D2A79ED93F36}"/>
    <dgm:cxn modelId="{24E942EF-C539-264E-BA20-8E0F075FF3C8}" srcId="{F2AFF89D-E2A2-0144-B30D-AC4072E321DD}" destId="{A7BE9999-9DAD-5B4E-A15D-D0880D5C0FF2}" srcOrd="2" destOrd="0" parTransId="{D9426C62-C2CE-DC44-AA71-F5B18340C420}" sibTransId="{02116D59-5960-0842-8CD4-8173AC2F38CA}"/>
    <dgm:cxn modelId="{C9A116F1-B2E8-F448-B5E5-E5994ED83B07}" type="presOf" srcId="{A7BE9999-9DAD-5B4E-A15D-D0880D5C0FF2}" destId="{30F0A7BD-17D8-7040-B217-054A63D1F685}" srcOrd="0" destOrd="0" presId="urn:microsoft.com/office/officeart/2005/8/layout/default"/>
    <dgm:cxn modelId="{06F85E7D-92F4-B145-8B78-205FDF4CD4C4}" type="presParOf" srcId="{AC622D4D-A95A-F743-9983-E0BD2BD19432}" destId="{426B729D-2F63-F74E-8A6B-4D7A5A0096E3}" srcOrd="0" destOrd="0" presId="urn:microsoft.com/office/officeart/2005/8/layout/default"/>
    <dgm:cxn modelId="{12BD016C-8A25-B34E-949E-92EB06B65989}" type="presParOf" srcId="{AC622D4D-A95A-F743-9983-E0BD2BD19432}" destId="{520C1DA3-4BAE-8247-B3A5-255A684F8F41}" srcOrd="1" destOrd="0" presId="urn:microsoft.com/office/officeart/2005/8/layout/default"/>
    <dgm:cxn modelId="{34133C9A-80E0-064F-8A2A-F449A95F0BC8}" type="presParOf" srcId="{AC622D4D-A95A-F743-9983-E0BD2BD19432}" destId="{65B6BA73-9BB7-1047-A6E4-3C9748960D5E}" srcOrd="2" destOrd="0" presId="urn:microsoft.com/office/officeart/2005/8/layout/default"/>
    <dgm:cxn modelId="{BBBDD07B-3A9B-B84D-8A4B-7247CAD254E6}" type="presParOf" srcId="{AC622D4D-A95A-F743-9983-E0BD2BD19432}" destId="{1A73DE43-69AF-E94B-BC02-3F811AA5A53D}" srcOrd="3" destOrd="0" presId="urn:microsoft.com/office/officeart/2005/8/layout/default"/>
    <dgm:cxn modelId="{ACEC2867-DC8F-8048-9DB9-6D4C09F70C61}" type="presParOf" srcId="{AC622D4D-A95A-F743-9983-E0BD2BD19432}" destId="{30F0A7BD-17D8-7040-B217-054A63D1F685}" srcOrd="4" destOrd="0" presId="urn:microsoft.com/office/officeart/2005/8/layout/default"/>
    <dgm:cxn modelId="{9D97E386-771A-DF4C-BE62-80D6263AB938}" type="presParOf" srcId="{AC622D4D-A95A-F743-9983-E0BD2BD19432}" destId="{F04AECA2-9170-5B48-807C-1EAB80C0945F}" srcOrd="5" destOrd="0" presId="urn:microsoft.com/office/officeart/2005/8/layout/default"/>
    <dgm:cxn modelId="{12445DAB-8201-9648-8975-9CECA6B570E7}" type="presParOf" srcId="{AC622D4D-A95A-F743-9983-E0BD2BD19432}" destId="{185EFF52-C787-E545-87A1-C610C605CF5D}" srcOrd="6" destOrd="0" presId="urn:microsoft.com/office/officeart/2005/8/layout/default"/>
  </dgm:cxnLst>
  <dgm:bg>
    <a:effectLst>
      <a:glow rad="101600">
        <a:schemeClr val="accent1">
          <a:satMod val="175000"/>
          <a:alpha val="40000"/>
        </a:schemeClr>
      </a:glow>
      <a:outerShdw blurRad="50800" dist="38100" dir="2700000" algn="tl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26B729D-2F63-F74E-8A6B-4D7A5A0096E3}">
      <dsp:nvSpPr>
        <dsp:cNvPr id="0" name=""/>
        <dsp:cNvSpPr/>
      </dsp:nvSpPr>
      <dsp:spPr>
        <a:xfrm>
          <a:off x="890385" y="1421"/>
          <a:ext cx="2436400" cy="1461840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BE" sz="1600" b="1" kern="1200" dirty="0"/>
            <a:t>Consult </a:t>
          </a:r>
          <a:r>
            <a:rPr lang="nl-BE" sz="1600" b="1" kern="1200" dirty="0" err="1"/>
            <a:t>Usage</a:t>
          </a:r>
          <a:endParaRPr lang="en-GB" sz="1600" b="1" kern="1200" dirty="0"/>
        </a:p>
      </dsp:txBody>
      <dsp:txXfrm>
        <a:off x="890385" y="1421"/>
        <a:ext cx="2436400" cy="1461840"/>
      </dsp:txXfrm>
    </dsp:sp>
    <dsp:sp modelId="{65B6BA73-9BB7-1047-A6E4-3C9748960D5E}">
      <dsp:nvSpPr>
        <dsp:cNvPr id="0" name=""/>
        <dsp:cNvSpPr/>
      </dsp:nvSpPr>
      <dsp:spPr>
        <a:xfrm>
          <a:off x="3570425" y="1421"/>
          <a:ext cx="2436400" cy="1461840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-135331"/>
                <a:satOff val="6345"/>
                <a:lumOff val="9616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-135331"/>
                <a:satOff val="6345"/>
                <a:lumOff val="9616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-135331"/>
                <a:satOff val="6345"/>
                <a:lumOff val="9616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/>
            <a:t>Consult Products</a:t>
          </a:r>
        </a:p>
      </dsp:txBody>
      <dsp:txXfrm>
        <a:off x="3570425" y="1421"/>
        <a:ext cx="2436400" cy="1461840"/>
      </dsp:txXfrm>
    </dsp:sp>
    <dsp:sp modelId="{30F0A7BD-17D8-7040-B217-054A63D1F685}">
      <dsp:nvSpPr>
        <dsp:cNvPr id="0" name=""/>
        <dsp:cNvSpPr/>
      </dsp:nvSpPr>
      <dsp:spPr>
        <a:xfrm>
          <a:off x="6250466" y="0"/>
          <a:ext cx="2436400" cy="1461840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-270661"/>
                <a:satOff val="12689"/>
                <a:lumOff val="19232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-270661"/>
                <a:satOff val="12689"/>
                <a:lumOff val="19232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-270661"/>
                <a:satOff val="12689"/>
                <a:lumOff val="19232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/>
            <a:t>Invoice Overview &amp; Payments</a:t>
          </a:r>
        </a:p>
      </dsp:txBody>
      <dsp:txXfrm>
        <a:off x="6250466" y="0"/>
        <a:ext cx="2436400" cy="1461840"/>
      </dsp:txXfrm>
    </dsp:sp>
    <dsp:sp modelId="{185EFF52-C787-E545-87A1-C610C605CF5D}">
      <dsp:nvSpPr>
        <dsp:cNvPr id="0" name=""/>
        <dsp:cNvSpPr/>
      </dsp:nvSpPr>
      <dsp:spPr>
        <a:xfrm>
          <a:off x="3570425" y="1706901"/>
          <a:ext cx="2436400" cy="1461840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-405992"/>
                <a:satOff val="19034"/>
                <a:lumOff val="28848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shade val="80000"/>
                <a:hueOff val="-405992"/>
                <a:satOff val="19034"/>
                <a:lumOff val="28848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shade val="80000"/>
                <a:hueOff val="-405992"/>
                <a:satOff val="19034"/>
                <a:lumOff val="28848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 dirty="0"/>
            <a:t>Manage User Profile</a:t>
          </a:r>
        </a:p>
      </dsp:txBody>
      <dsp:txXfrm>
        <a:off x="3570425" y="1706901"/>
        <a:ext cx="2436400" cy="14618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5C834F-D093-4112-96E5-FE8335E739B3}" type="datetimeFigureOut">
              <a:rPr lang="en-US" smtClean="0"/>
              <a:t>2/1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DBF7C5-4453-42FC-9090-25D3E93D1E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5701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FD4401-A602-1C4E-B9D0-BF165256AE09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33999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0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7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7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76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77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78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79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80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81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82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8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84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85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86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87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88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89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90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9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92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9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9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9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96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97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98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99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00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01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02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0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3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04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05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06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07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08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09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10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11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12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1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4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14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15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16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17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18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19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20.xml"/><Relationship Id="rId4" Type="http://schemas.openxmlformats.org/officeDocument/2006/relationships/image" Target="../media/image1.emf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21.xml"/><Relationship Id="rId4" Type="http://schemas.openxmlformats.org/officeDocument/2006/relationships/image" Target="../media/image1.emf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22.xml"/><Relationship Id="rId4" Type="http://schemas.openxmlformats.org/officeDocument/2006/relationships/image" Target="../media/image1.emf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23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5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24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25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2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2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6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.bin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.bin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.bin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7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9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0.bin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1.bin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.bin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3.bin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4.bin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8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6.xml"/><Relationship Id="rId1" Type="http://schemas.openxmlformats.org/officeDocument/2006/relationships/themeOverride" Target="../theme/themeOverride128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9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0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1.jpeg"/><Relationship Id="rId5" Type="http://schemas.openxmlformats.org/officeDocument/2006/relationships/image" Target="../media/image20.png"/><Relationship Id="rId4" Type="http://schemas.openxmlformats.org/officeDocument/2006/relationships/hyperlink" Target="https://www.google.be/url?sa=i&amp;rct=j&amp;q=&amp;esrc=s&amp;source=images&amp;cd=&amp;cad=rja&amp;uact=8&amp;ved=0ahUKEwiXn42gpNzNAhVIiRoKHUS6A8UQjRwIBw&amp;url=https://snap.telenet.be/snapbox/GOT/&amp;bvm=bv.126130881,d.ZGg&amp;psig=AFQjCNFB7pBbDqVuOTU9vQGuvVevzTIZEw&amp;ust=1467806712109332" TargetMode="Externa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3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4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5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6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7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8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9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0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4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7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8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0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7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8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0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7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8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9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6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60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6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6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6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7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8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9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6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65.xml"/><Relationship Id="rId4" Type="http://schemas.openxmlformats.org/officeDocument/2006/relationships/image" Target="../media/image1.emf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66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67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68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69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70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71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7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7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">
    <p:bg>
      <p:bgPr>
        <a:solidFill>
          <a:srgbClr val="FFC4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283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73355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1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rgbClr val="FFE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33099916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1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rgbClr val="FFE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FFED00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FFED00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FFED00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112386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1_SplitScreen">
    <p:bg>
      <p:bgPr>
        <a:solidFill>
          <a:srgbClr val="FFE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90" y="244303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97" y="2615258"/>
            <a:ext cx="45550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ED00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25" y="3913314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36364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1_SplitScreen_Content">
    <p:bg>
      <p:bgPr>
        <a:solidFill>
          <a:srgbClr val="FFE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61" y="2549026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20" y="1839921"/>
            <a:ext cx="3524249" cy="709083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331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869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02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73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28" y="3688129"/>
            <a:ext cx="4449233" cy="24278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331" indent="0" algn="ctr">
              <a:buFontTx/>
              <a:buNone/>
              <a:defRPr sz="2400" baseline="0">
                <a:latin typeface="Arial"/>
              </a:defRPr>
            </a:lvl2pPr>
            <a:lvl3pPr marL="1218690" indent="0" algn="ctr">
              <a:buFontTx/>
              <a:buNone/>
              <a:defRPr sz="2400" baseline="0">
                <a:latin typeface="Arial"/>
              </a:defRPr>
            </a:lvl3pPr>
            <a:lvl4pPr marL="1828029" indent="0" algn="ctr">
              <a:buFontTx/>
              <a:buNone/>
              <a:defRPr sz="2400" baseline="0">
                <a:latin typeface="Arial"/>
              </a:defRPr>
            </a:lvl4pPr>
            <a:lvl5pPr marL="24373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28881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1_SplitScreen_Bullets">
    <p:bg>
      <p:bgPr>
        <a:solidFill>
          <a:srgbClr val="FFE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35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79"/>
            <a:ext cx="1018740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45" y="2319619"/>
            <a:ext cx="4301825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872002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2">
    <p:bg>
      <p:bgPr>
        <a:solidFill>
          <a:srgbClr val="F4A9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714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42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90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18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11410268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2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6335731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2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rgbClr val="F4A9C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F4A9C5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F4A9C5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F4A9C5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500843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2_SplitScreen">
    <p:bg>
      <p:bgPr>
        <a:solidFill>
          <a:srgbClr val="F4A9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90" y="244303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97" y="2615258"/>
            <a:ext cx="45550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4A9C5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25" y="3913314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1755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2_SplitScreen_Content">
    <p:bg>
      <p:bgPr>
        <a:solidFill>
          <a:srgbClr val="F4A9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61" y="2549026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20" y="1839921"/>
            <a:ext cx="3524249" cy="709083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331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869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02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73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28" y="3688129"/>
            <a:ext cx="4449233" cy="24278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331" indent="0" algn="ctr">
              <a:buFontTx/>
              <a:buNone/>
              <a:defRPr sz="2400" baseline="0">
                <a:latin typeface="Arial"/>
              </a:defRPr>
            </a:lvl2pPr>
            <a:lvl3pPr marL="1218690" indent="0" algn="ctr">
              <a:buFontTx/>
              <a:buNone/>
              <a:defRPr sz="2400" baseline="0">
                <a:latin typeface="Arial"/>
              </a:defRPr>
            </a:lvl3pPr>
            <a:lvl4pPr marL="1828029" indent="0" algn="ctr">
              <a:buFontTx/>
              <a:buNone/>
              <a:defRPr sz="2400" baseline="0">
                <a:latin typeface="Arial"/>
              </a:defRPr>
            </a:lvl4pPr>
            <a:lvl5pPr marL="24373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359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2_SplitScreen_Bullets">
    <p:bg>
      <p:bgPr>
        <a:solidFill>
          <a:srgbClr val="F4A9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35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79"/>
            <a:ext cx="1018740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45" y="2319619"/>
            <a:ext cx="4301825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798959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1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rgbClr val="FFE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FFED00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FFED00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FFED00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632274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3">
    <p:bg>
      <p:bgPr>
        <a:solidFill>
          <a:srgbClr val="E8327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714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42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90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18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7279300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3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rgbClr val="E8327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30760356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3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rgbClr val="E8327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E8327C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E8327C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E8327C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00005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3_SplitScreen">
    <p:bg>
      <p:bgPr>
        <a:solidFill>
          <a:srgbClr val="E8327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90" y="244303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97" y="2615258"/>
            <a:ext cx="45550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E8327C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25" y="3913314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3535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3_SplitScreen_Content">
    <p:bg>
      <p:bgPr>
        <a:solidFill>
          <a:srgbClr val="E8327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61" y="2549026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20" y="1839921"/>
            <a:ext cx="3524249" cy="709083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331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869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02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73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28" y="3688129"/>
            <a:ext cx="4449233" cy="24278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331" indent="0" algn="ctr">
              <a:buFontTx/>
              <a:buNone/>
              <a:defRPr sz="2400" baseline="0">
                <a:latin typeface="Arial"/>
              </a:defRPr>
            </a:lvl2pPr>
            <a:lvl3pPr marL="1218690" indent="0" algn="ctr">
              <a:buFontTx/>
              <a:buNone/>
              <a:defRPr sz="2400" baseline="0">
                <a:latin typeface="Arial"/>
              </a:defRPr>
            </a:lvl3pPr>
            <a:lvl4pPr marL="1828029" indent="0" algn="ctr">
              <a:buFontTx/>
              <a:buNone/>
              <a:defRPr sz="2400" baseline="0">
                <a:latin typeface="Arial"/>
              </a:defRPr>
            </a:lvl4pPr>
            <a:lvl5pPr marL="24373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3429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3_SplitScreen_Bullets">
    <p:bg>
      <p:bgPr>
        <a:solidFill>
          <a:srgbClr val="E8327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35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79"/>
            <a:ext cx="1018740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45" y="2319619"/>
            <a:ext cx="4301825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889992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4">
    <p:bg>
      <p:bgPr>
        <a:solidFill>
          <a:srgbClr val="EA54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714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42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90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18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111179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4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rgbClr val="EA543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35530233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4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rgbClr val="EA543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EA5436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EA5436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EA5436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01170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4_SplitScreen">
    <p:bg>
      <p:bgPr>
        <a:solidFill>
          <a:srgbClr val="EA54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90" y="244303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97" y="2615258"/>
            <a:ext cx="45550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EA5436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25" y="3913314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90566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1_SplitScreen">
    <p:bg>
      <p:bgPr>
        <a:solidFill>
          <a:srgbClr val="FFE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70" y="244301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66" y="2615238"/>
            <a:ext cx="455569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ED00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05" y="3913294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31534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4_SplitScreen_Content">
    <p:bg>
      <p:bgPr>
        <a:solidFill>
          <a:srgbClr val="EA54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61" y="2549026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20" y="1839921"/>
            <a:ext cx="3524249" cy="709083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331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869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02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73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28" y="3688129"/>
            <a:ext cx="4449233" cy="24278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331" indent="0" algn="ctr">
              <a:buFontTx/>
              <a:buNone/>
              <a:defRPr sz="2400" baseline="0">
                <a:latin typeface="Arial"/>
              </a:defRPr>
            </a:lvl2pPr>
            <a:lvl3pPr marL="1218690" indent="0" algn="ctr">
              <a:buFontTx/>
              <a:buNone/>
              <a:defRPr sz="2400" baseline="0">
                <a:latin typeface="Arial"/>
              </a:defRPr>
            </a:lvl3pPr>
            <a:lvl4pPr marL="1828029" indent="0" algn="ctr">
              <a:buFontTx/>
              <a:buNone/>
              <a:defRPr sz="2400" baseline="0">
                <a:latin typeface="Arial"/>
              </a:defRPr>
            </a:lvl4pPr>
            <a:lvl5pPr marL="24373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57528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4_SplitScreen_Bullets">
    <p:bg>
      <p:bgPr>
        <a:solidFill>
          <a:srgbClr val="EA54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35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79"/>
            <a:ext cx="1018740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45" y="2319619"/>
            <a:ext cx="4301825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551379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5">
    <p:bg>
      <p:bgPr>
        <a:solidFill>
          <a:srgbClr val="00AEC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714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42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90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18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39636161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5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rgbClr val="00AEC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23674866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5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rgbClr val="00AEC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00AEC9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00AEC9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00AEC9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010800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5_SplitScreen">
    <p:bg>
      <p:bgPr>
        <a:solidFill>
          <a:srgbClr val="00AEC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90" y="244303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97" y="2615258"/>
            <a:ext cx="45550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00AEC9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25" y="3913314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3650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5_SplitScreen_Content">
    <p:bg>
      <p:bgPr>
        <a:solidFill>
          <a:srgbClr val="00AEC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61" y="2549026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20" y="1839921"/>
            <a:ext cx="3524249" cy="709083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331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869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02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73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28" y="3688129"/>
            <a:ext cx="4449233" cy="24278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331" indent="0" algn="ctr">
              <a:buFontTx/>
              <a:buNone/>
              <a:defRPr sz="2400" baseline="0">
                <a:latin typeface="Arial"/>
              </a:defRPr>
            </a:lvl2pPr>
            <a:lvl3pPr marL="1218690" indent="0" algn="ctr">
              <a:buFontTx/>
              <a:buNone/>
              <a:defRPr sz="2400" baseline="0">
                <a:latin typeface="Arial"/>
              </a:defRPr>
            </a:lvl3pPr>
            <a:lvl4pPr marL="1828029" indent="0" algn="ctr">
              <a:buFontTx/>
              <a:buNone/>
              <a:defRPr sz="2400" baseline="0">
                <a:latin typeface="Arial"/>
              </a:defRPr>
            </a:lvl4pPr>
            <a:lvl5pPr marL="24373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7058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5_SplitScreen_Bullets">
    <p:bg>
      <p:bgPr>
        <a:solidFill>
          <a:srgbClr val="00AEC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35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79"/>
            <a:ext cx="1018740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45" y="2319619"/>
            <a:ext cx="4301825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437903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6">
    <p:bg>
      <p:bgPr>
        <a:solidFill>
          <a:srgbClr val="88CD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714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42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90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18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13773190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6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rgbClr val="88CD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17800412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1_SplitScreen_Content">
    <p:bg>
      <p:bgPr>
        <a:solidFill>
          <a:srgbClr val="FFE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41" y="2549006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00" y="1839921"/>
            <a:ext cx="3524249" cy="709083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57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914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70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82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08" y="3688109"/>
            <a:ext cx="4449233" cy="24278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570" indent="0" algn="ctr">
              <a:buFontTx/>
              <a:buNone/>
              <a:defRPr sz="2400" baseline="0">
                <a:latin typeface="Arial"/>
              </a:defRPr>
            </a:lvl2pPr>
            <a:lvl3pPr marL="1219140" indent="0" algn="ctr">
              <a:buFontTx/>
              <a:buNone/>
              <a:defRPr sz="2400" baseline="0">
                <a:latin typeface="Arial"/>
              </a:defRPr>
            </a:lvl3pPr>
            <a:lvl4pPr marL="1828709" indent="0" algn="ctr">
              <a:buFontTx/>
              <a:buNone/>
              <a:defRPr sz="2400" baseline="0">
                <a:latin typeface="Arial"/>
              </a:defRPr>
            </a:lvl4pPr>
            <a:lvl5pPr marL="24382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80712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6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rgbClr val="88CD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88CDD3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88CDD3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88CDD3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177230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6_SplitScreen">
    <p:bg>
      <p:bgPr>
        <a:solidFill>
          <a:srgbClr val="88CD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90" y="244303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97" y="2615258"/>
            <a:ext cx="45550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88CDD3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25" y="3913314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73059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6_SplitScreen_Content">
    <p:bg>
      <p:bgPr>
        <a:solidFill>
          <a:srgbClr val="88CD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61" y="2549026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20" y="1839921"/>
            <a:ext cx="3524249" cy="709083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331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869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02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73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28" y="3688129"/>
            <a:ext cx="4449233" cy="24278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331" indent="0" algn="ctr">
              <a:buFontTx/>
              <a:buNone/>
              <a:defRPr sz="2400" baseline="0">
                <a:latin typeface="Arial"/>
              </a:defRPr>
            </a:lvl2pPr>
            <a:lvl3pPr marL="1218690" indent="0" algn="ctr">
              <a:buFontTx/>
              <a:buNone/>
              <a:defRPr sz="2400" baseline="0">
                <a:latin typeface="Arial"/>
              </a:defRPr>
            </a:lvl3pPr>
            <a:lvl4pPr marL="1828029" indent="0" algn="ctr">
              <a:buFontTx/>
              <a:buNone/>
              <a:defRPr sz="2400" baseline="0">
                <a:latin typeface="Arial"/>
              </a:defRPr>
            </a:lvl4pPr>
            <a:lvl5pPr marL="24373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1539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6_SplitScreen_Bullets">
    <p:bg>
      <p:bgPr>
        <a:solidFill>
          <a:srgbClr val="88CD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35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79"/>
            <a:ext cx="1018740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45" y="2319619"/>
            <a:ext cx="4301825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493876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7">
    <p:bg>
      <p:bgPr>
        <a:solidFill>
          <a:srgbClr val="249B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714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42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90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18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851436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7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rgbClr val="249B9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33531827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7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rgbClr val="249B9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249B98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249B98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249B98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958640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7_SplitScreen">
    <p:bg>
      <p:bgPr>
        <a:solidFill>
          <a:srgbClr val="249B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90" y="244303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97" y="2615258"/>
            <a:ext cx="45550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249B98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25" y="3913314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31865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7_SplitScreen_Content">
    <p:bg>
      <p:bgPr>
        <a:solidFill>
          <a:srgbClr val="249B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61" y="2549026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20" y="1839921"/>
            <a:ext cx="3524249" cy="709083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331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869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02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73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28" y="3688129"/>
            <a:ext cx="4449233" cy="24278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331" indent="0" algn="ctr">
              <a:buFontTx/>
              <a:buNone/>
              <a:defRPr sz="2400" baseline="0">
                <a:latin typeface="Arial"/>
              </a:defRPr>
            </a:lvl2pPr>
            <a:lvl3pPr marL="1218690" indent="0" algn="ctr">
              <a:buFontTx/>
              <a:buNone/>
              <a:defRPr sz="2400" baseline="0">
                <a:latin typeface="Arial"/>
              </a:defRPr>
            </a:lvl3pPr>
            <a:lvl4pPr marL="1828029" indent="0" algn="ctr">
              <a:buFontTx/>
              <a:buNone/>
              <a:defRPr sz="2400" baseline="0">
                <a:latin typeface="Arial"/>
              </a:defRPr>
            </a:lvl4pPr>
            <a:lvl5pPr marL="24373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9173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7_SplitScreen_Bullets">
    <p:bg>
      <p:bgPr>
        <a:solidFill>
          <a:srgbClr val="249B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35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79"/>
            <a:ext cx="1018740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45" y="2319619"/>
            <a:ext cx="4301825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307965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1_SplitScreen_Bullets">
    <p:bg>
      <p:bgPr>
        <a:solidFill>
          <a:srgbClr val="FFE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26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66"/>
            <a:ext cx="1018801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25" y="2319619"/>
            <a:ext cx="4301825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926490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FB_Chapter">
    <p:bg>
      <p:bgPr>
        <a:solidFill>
          <a:srgbClr val="212D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714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42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90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18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3915981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FB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rgbClr val="212D5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17765618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FB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rgbClr val="212D5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212D55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212D55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212D55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896747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8_SplitScreen">
    <p:bg>
      <p:bgPr>
        <a:solidFill>
          <a:srgbClr val="212D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90" y="244303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97" y="2615258"/>
            <a:ext cx="45550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212D55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25" y="3913314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11575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8_SplitScreen_Content">
    <p:bg>
      <p:bgPr>
        <a:solidFill>
          <a:srgbClr val="212D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57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61" y="2549026"/>
            <a:ext cx="3043767" cy="7006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331" indent="0" algn="ctr">
              <a:buFontTx/>
              <a:buNone/>
              <a:defRPr sz="3733" b="1" i="0">
                <a:latin typeface="Arial"/>
              </a:defRPr>
            </a:lvl2pPr>
            <a:lvl3pPr marL="1218690" indent="0" algn="ctr">
              <a:buFontTx/>
              <a:buNone/>
              <a:defRPr sz="3733" b="1" i="0">
                <a:latin typeface="Arial"/>
              </a:defRPr>
            </a:lvl3pPr>
            <a:lvl4pPr marL="1828029" indent="0" algn="ctr">
              <a:buFontTx/>
              <a:buNone/>
              <a:defRPr sz="3733" b="1" i="0">
                <a:latin typeface="Arial"/>
              </a:defRPr>
            </a:lvl4pPr>
            <a:lvl5pPr marL="24373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20" y="1839921"/>
            <a:ext cx="3524249" cy="709083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331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869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02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73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28" y="3688129"/>
            <a:ext cx="4449233" cy="2427817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331" indent="0" algn="ctr">
              <a:buFontTx/>
              <a:buNone/>
              <a:defRPr sz="2400" baseline="0">
                <a:latin typeface="Arial"/>
              </a:defRPr>
            </a:lvl2pPr>
            <a:lvl3pPr marL="1218690" indent="0" algn="ctr">
              <a:buFontTx/>
              <a:buNone/>
              <a:defRPr sz="2400" baseline="0">
                <a:latin typeface="Arial"/>
              </a:defRPr>
            </a:lvl3pPr>
            <a:lvl4pPr marL="1828029" indent="0" algn="ctr">
              <a:buFontTx/>
              <a:buNone/>
              <a:defRPr sz="2400" baseline="0">
                <a:latin typeface="Arial"/>
              </a:defRPr>
            </a:lvl4pPr>
            <a:lvl5pPr marL="24373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9368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8_SplitScreen_Bullets">
    <p:bg>
      <p:bgPr>
        <a:solidFill>
          <a:srgbClr val="212D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35" y="0"/>
            <a:ext cx="6101265" cy="6858000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79"/>
            <a:ext cx="1018740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45" y="2319619"/>
            <a:ext cx="4301825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60694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Picture_01"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714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42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90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18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15543578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Picture_02"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714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42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90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18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19926602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Picture_03"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714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42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90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18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4087605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Picture_04"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714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42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90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18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23587602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2">
    <p:bg>
      <p:bgPr>
        <a:solidFill>
          <a:srgbClr val="F4A9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698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25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74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02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22774799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elden teks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68348" y="5057957"/>
            <a:ext cx="2098037" cy="1210995"/>
          </a:xfrm>
          <a:prstGeom prst="rect">
            <a:avLst/>
          </a:prstGeom>
          <a:solidFill>
            <a:srgbClr val="EAEAEA"/>
          </a:solidFill>
        </p:spPr>
        <p:txBody>
          <a:bodyPr vert="horz" wrap="square" lIns="91408" tIns="45704" rIns="91408" bIns="45704">
            <a:noAutofit/>
          </a:bodyPr>
          <a:lstStyle>
            <a:lvl1pPr marL="0" indent="0" algn="ctr">
              <a:lnSpc>
                <a:spcPct val="80000"/>
              </a:lnSpc>
              <a:buNone/>
              <a:defRPr sz="13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2695076" y="5057957"/>
            <a:ext cx="2098037" cy="1210995"/>
          </a:xfrm>
          <a:prstGeom prst="rect">
            <a:avLst/>
          </a:prstGeom>
          <a:solidFill>
            <a:srgbClr val="EAEAEA"/>
          </a:solidFill>
        </p:spPr>
        <p:txBody>
          <a:bodyPr vert="horz" wrap="square" lIns="91408" tIns="45704" rIns="91408" bIns="45704">
            <a:noAutofit/>
          </a:bodyPr>
          <a:lstStyle>
            <a:lvl1pPr marL="0" indent="0" algn="ctr">
              <a:lnSpc>
                <a:spcPct val="80000"/>
              </a:lnSpc>
              <a:buNone/>
              <a:defRPr sz="13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5057268" y="5057957"/>
            <a:ext cx="2098037" cy="1210995"/>
          </a:xfrm>
          <a:prstGeom prst="rect">
            <a:avLst/>
          </a:prstGeom>
          <a:solidFill>
            <a:srgbClr val="EAEAEA"/>
          </a:solidFill>
        </p:spPr>
        <p:txBody>
          <a:bodyPr vert="horz" wrap="square" lIns="91408" tIns="45704" rIns="91408" bIns="45704">
            <a:noAutofit/>
          </a:bodyPr>
          <a:lstStyle>
            <a:lvl1pPr marL="0" indent="0" algn="ctr">
              <a:lnSpc>
                <a:spcPct val="80000"/>
              </a:lnSpc>
              <a:buNone/>
              <a:defRPr sz="13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7367748" y="5057957"/>
            <a:ext cx="2098037" cy="1210995"/>
          </a:xfrm>
          <a:prstGeom prst="rect">
            <a:avLst/>
          </a:prstGeom>
          <a:solidFill>
            <a:srgbClr val="EAEAEA"/>
          </a:solidFill>
        </p:spPr>
        <p:txBody>
          <a:bodyPr vert="horz" wrap="square" lIns="91408" tIns="45704" rIns="91408" bIns="45704">
            <a:noAutofit/>
          </a:bodyPr>
          <a:lstStyle>
            <a:lvl1pPr marL="0" indent="0" algn="ctr">
              <a:lnSpc>
                <a:spcPct val="80000"/>
              </a:lnSpc>
              <a:buNone/>
              <a:defRPr sz="13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9663824" y="5057957"/>
            <a:ext cx="2098037" cy="1210995"/>
          </a:xfrm>
          <a:prstGeom prst="rect">
            <a:avLst/>
          </a:prstGeom>
          <a:solidFill>
            <a:srgbClr val="EAEAEA"/>
          </a:solidFill>
        </p:spPr>
        <p:txBody>
          <a:bodyPr vert="horz" wrap="square" lIns="91408" tIns="45704" rIns="91408" bIns="45704">
            <a:noAutofit/>
          </a:bodyPr>
          <a:lstStyle>
            <a:lvl1pPr marL="0" indent="0" algn="ctr">
              <a:lnSpc>
                <a:spcPct val="80000"/>
              </a:lnSpc>
              <a:buNone/>
              <a:defRPr sz="13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21"/>
          </p:nvPr>
        </p:nvSpPr>
        <p:spPr>
          <a:xfrm>
            <a:off x="368348" y="2899540"/>
            <a:ext cx="2098037" cy="2020535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22"/>
          </p:nvPr>
        </p:nvSpPr>
        <p:spPr>
          <a:xfrm>
            <a:off x="2695076" y="2899540"/>
            <a:ext cx="2098037" cy="2020535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23"/>
          </p:nvPr>
        </p:nvSpPr>
        <p:spPr>
          <a:xfrm>
            <a:off x="5057268" y="2899540"/>
            <a:ext cx="2098037" cy="2020535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24"/>
          </p:nvPr>
        </p:nvSpPr>
        <p:spPr>
          <a:xfrm>
            <a:off x="7367748" y="2882508"/>
            <a:ext cx="2098037" cy="2020535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4"/>
          <p:cNvSpPr>
            <a:spLocks noGrp="1"/>
          </p:cNvSpPr>
          <p:nvPr>
            <p:ph type="pic" sz="quarter" idx="25"/>
          </p:nvPr>
        </p:nvSpPr>
        <p:spPr>
          <a:xfrm>
            <a:off x="9663824" y="2882508"/>
            <a:ext cx="2098037" cy="2020535"/>
          </a:xfrm>
          <a:prstGeom prst="rect">
            <a:avLst/>
          </a:prstGeom>
        </p:spPr>
        <p:txBody>
          <a:bodyPr vert="horz" lIns="91408" tIns="45704" rIns="91408" bIns="45704"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838597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psomming teks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49" name="Picture Placeholder 4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236168" y="2796469"/>
            <a:ext cx="1536000" cy="1493109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772168" y="2796491"/>
            <a:ext cx="1328941" cy="1496863"/>
          </a:xfrm>
          <a:prstGeom prst="rect">
            <a:avLst/>
          </a:prstGeom>
          <a:noFill/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41" hasCustomPrompt="1"/>
          </p:nvPr>
        </p:nvSpPr>
        <p:spPr>
          <a:xfrm>
            <a:off x="4714008" y="2796491"/>
            <a:ext cx="1328941" cy="1496863"/>
          </a:xfrm>
          <a:prstGeom prst="rect">
            <a:avLst/>
          </a:prstGeom>
          <a:noFill/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59" name="Text Placeholder 9"/>
          <p:cNvSpPr>
            <a:spLocks noGrp="1"/>
          </p:cNvSpPr>
          <p:nvPr>
            <p:ph type="body" sz="quarter" idx="43" hasCustomPrompt="1"/>
          </p:nvPr>
        </p:nvSpPr>
        <p:spPr>
          <a:xfrm>
            <a:off x="7656584" y="2796491"/>
            <a:ext cx="1328941" cy="1496863"/>
          </a:xfrm>
          <a:prstGeom prst="rect">
            <a:avLst/>
          </a:prstGeom>
          <a:noFill/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60" name="Text Placeholder 9"/>
          <p:cNvSpPr>
            <a:spLocks noGrp="1"/>
          </p:cNvSpPr>
          <p:nvPr>
            <p:ph type="body" sz="quarter" idx="45" hasCustomPrompt="1"/>
          </p:nvPr>
        </p:nvSpPr>
        <p:spPr>
          <a:xfrm>
            <a:off x="10601904" y="2796491"/>
            <a:ext cx="1328941" cy="1496863"/>
          </a:xfrm>
          <a:prstGeom prst="rect">
            <a:avLst/>
          </a:prstGeom>
          <a:noFill/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61" name="Picture Placeholder 4"/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3178005" y="2796469"/>
            <a:ext cx="1536000" cy="1493109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62" name="Picture Placeholder 4"/>
          <p:cNvSpPr>
            <a:spLocks noGrp="1" noChangeAspect="1"/>
          </p:cNvSpPr>
          <p:nvPr>
            <p:ph type="pic" sz="quarter" idx="47" hasCustomPrompt="1"/>
          </p:nvPr>
        </p:nvSpPr>
        <p:spPr>
          <a:xfrm>
            <a:off x="6120584" y="2796469"/>
            <a:ext cx="1536000" cy="1493109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70" name="Picture Placeholder 4"/>
          <p:cNvSpPr>
            <a:spLocks noGrp="1" noChangeAspect="1"/>
          </p:cNvSpPr>
          <p:nvPr>
            <p:ph type="pic" sz="quarter" idx="48" hasCustomPrompt="1"/>
          </p:nvPr>
        </p:nvSpPr>
        <p:spPr>
          <a:xfrm>
            <a:off x="9065904" y="2796469"/>
            <a:ext cx="1536000" cy="1493109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71" name="Picture Placeholder 4"/>
          <p:cNvSpPr>
            <a:spLocks noGrp="1" noChangeAspect="1"/>
          </p:cNvSpPr>
          <p:nvPr>
            <p:ph type="pic" sz="quarter" idx="49" hasCustomPrompt="1"/>
          </p:nvPr>
        </p:nvSpPr>
        <p:spPr>
          <a:xfrm>
            <a:off x="236168" y="4671351"/>
            <a:ext cx="1536000" cy="1493109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72" name="Text Placeholder 9"/>
          <p:cNvSpPr>
            <a:spLocks noGrp="1"/>
          </p:cNvSpPr>
          <p:nvPr>
            <p:ph type="body" sz="quarter" idx="50" hasCustomPrompt="1"/>
          </p:nvPr>
        </p:nvSpPr>
        <p:spPr>
          <a:xfrm>
            <a:off x="1772168" y="4671371"/>
            <a:ext cx="1328941" cy="1496863"/>
          </a:xfrm>
          <a:prstGeom prst="rect">
            <a:avLst/>
          </a:prstGeom>
          <a:noFill/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73" name="Text Placeholder 9"/>
          <p:cNvSpPr>
            <a:spLocks noGrp="1"/>
          </p:cNvSpPr>
          <p:nvPr>
            <p:ph type="body" sz="quarter" idx="51" hasCustomPrompt="1"/>
          </p:nvPr>
        </p:nvSpPr>
        <p:spPr>
          <a:xfrm>
            <a:off x="4714008" y="4671371"/>
            <a:ext cx="1328941" cy="1496863"/>
          </a:xfrm>
          <a:prstGeom prst="rect">
            <a:avLst/>
          </a:prstGeom>
          <a:noFill/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74" name="Text Placeholder 9"/>
          <p:cNvSpPr>
            <a:spLocks noGrp="1"/>
          </p:cNvSpPr>
          <p:nvPr>
            <p:ph type="body" sz="quarter" idx="52" hasCustomPrompt="1"/>
          </p:nvPr>
        </p:nvSpPr>
        <p:spPr>
          <a:xfrm>
            <a:off x="7656584" y="4671371"/>
            <a:ext cx="1328941" cy="1496863"/>
          </a:xfrm>
          <a:prstGeom prst="rect">
            <a:avLst/>
          </a:prstGeom>
          <a:noFill/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53" hasCustomPrompt="1"/>
          </p:nvPr>
        </p:nvSpPr>
        <p:spPr>
          <a:xfrm>
            <a:off x="10601904" y="4671371"/>
            <a:ext cx="1328941" cy="1496863"/>
          </a:xfrm>
          <a:prstGeom prst="rect">
            <a:avLst/>
          </a:prstGeom>
          <a:noFill/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76" name="Picture Placeholder 4"/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3178005" y="4671351"/>
            <a:ext cx="1536000" cy="1493109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77" name="Picture Placeholder 4"/>
          <p:cNvSpPr>
            <a:spLocks noGrp="1" noChangeAspect="1"/>
          </p:cNvSpPr>
          <p:nvPr>
            <p:ph type="pic" sz="quarter" idx="55" hasCustomPrompt="1"/>
          </p:nvPr>
        </p:nvSpPr>
        <p:spPr>
          <a:xfrm>
            <a:off x="6120584" y="4671351"/>
            <a:ext cx="1536000" cy="1493109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78" name="Picture Placeholder 4"/>
          <p:cNvSpPr>
            <a:spLocks noGrp="1" noChangeAspect="1"/>
          </p:cNvSpPr>
          <p:nvPr>
            <p:ph type="pic" sz="quarter" idx="56" hasCustomPrompt="1"/>
          </p:nvPr>
        </p:nvSpPr>
        <p:spPr>
          <a:xfrm>
            <a:off x="9065904" y="4671351"/>
            <a:ext cx="1536000" cy="1493109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79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236168" y="2796492"/>
            <a:ext cx="474133" cy="476249"/>
          </a:xfrm>
          <a:prstGeom prst="rect">
            <a:avLst/>
          </a:prstGeom>
          <a:solidFill>
            <a:srgbClr val="FFC421"/>
          </a:solidFill>
        </p:spPr>
        <p:txBody>
          <a:bodyPr vert="horz" lIns="91408" tIns="45704" rIns="91408" bIns="45704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869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02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73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  <p:sp>
        <p:nvSpPr>
          <p:cNvPr id="80" name="Text Placeholder 2"/>
          <p:cNvSpPr>
            <a:spLocks noGrp="1"/>
          </p:cNvSpPr>
          <p:nvPr>
            <p:ph type="body" sz="quarter" idx="33" hasCustomPrompt="1"/>
          </p:nvPr>
        </p:nvSpPr>
        <p:spPr>
          <a:xfrm>
            <a:off x="3178008" y="2796492"/>
            <a:ext cx="474133" cy="476249"/>
          </a:xfrm>
          <a:prstGeom prst="rect">
            <a:avLst/>
          </a:prstGeom>
          <a:solidFill>
            <a:srgbClr val="00AEC9"/>
          </a:solidFill>
        </p:spPr>
        <p:txBody>
          <a:bodyPr vert="horz" lIns="91408" tIns="45704" rIns="91408" bIns="45704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869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02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73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  <p:sp>
        <p:nvSpPr>
          <p:cNvPr id="81" name="Text Placeholder 2"/>
          <p:cNvSpPr>
            <a:spLocks noGrp="1"/>
          </p:cNvSpPr>
          <p:nvPr>
            <p:ph type="body" sz="quarter" idx="34" hasCustomPrompt="1"/>
          </p:nvPr>
        </p:nvSpPr>
        <p:spPr>
          <a:xfrm>
            <a:off x="9065904" y="2796492"/>
            <a:ext cx="474133" cy="476249"/>
          </a:xfrm>
          <a:prstGeom prst="rect">
            <a:avLst/>
          </a:prstGeom>
          <a:solidFill>
            <a:srgbClr val="EA5436"/>
          </a:solidFill>
        </p:spPr>
        <p:txBody>
          <a:bodyPr vert="horz" lIns="91408" tIns="45704" rIns="91408" bIns="45704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869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02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73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  <p:sp>
        <p:nvSpPr>
          <p:cNvPr id="82" name="Text Placeholder 2"/>
          <p:cNvSpPr>
            <a:spLocks noGrp="1"/>
          </p:cNvSpPr>
          <p:nvPr>
            <p:ph type="body" sz="quarter" idx="35" hasCustomPrompt="1"/>
          </p:nvPr>
        </p:nvSpPr>
        <p:spPr>
          <a:xfrm>
            <a:off x="6120584" y="2796492"/>
            <a:ext cx="474133" cy="476249"/>
          </a:xfrm>
          <a:prstGeom prst="rect">
            <a:avLst/>
          </a:prstGeom>
          <a:solidFill>
            <a:srgbClr val="249B98"/>
          </a:solidFill>
        </p:spPr>
        <p:txBody>
          <a:bodyPr vert="horz" lIns="91408" tIns="45704" rIns="91408" bIns="45704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869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02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73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  <p:sp>
        <p:nvSpPr>
          <p:cNvPr id="83" name="Text Placeholder 2"/>
          <p:cNvSpPr>
            <a:spLocks noGrp="1"/>
          </p:cNvSpPr>
          <p:nvPr>
            <p:ph type="body" sz="quarter" idx="36" hasCustomPrompt="1"/>
          </p:nvPr>
        </p:nvSpPr>
        <p:spPr>
          <a:xfrm>
            <a:off x="6120584" y="4670404"/>
            <a:ext cx="474133" cy="476249"/>
          </a:xfrm>
          <a:prstGeom prst="rect">
            <a:avLst/>
          </a:prstGeom>
          <a:solidFill>
            <a:srgbClr val="F4A9C5"/>
          </a:solidFill>
        </p:spPr>
        <p:txBody>
          <a:bodyPr vert="horz" lIns="91408" tIns="45704" rIns="91408" bIns="45704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869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02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73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  <p:sp>
        <p:nvSpPr>
          <p:cNvPr id="84" name="Text Placeholder 2"/>
          <p:cNvSpPr>
            <a:spLocks noGrp="1"/>
          </p:cNvSpPr>
          <p:nvPr>
            <p:ph type="body" sz="quarter" idx="37" hasCustomPrompt="1"/>
          </p:nvPr>
        </p:nvSpPr>
        <p:spPr>
          <a:xfrm>
            <a:off x="236168" y="4671372"/>
            <a:ext cx="474133" cy="476249"/>
          </a:xfrm>
          <a:prstGeom prst="rect">
            <a:avLst/>
          </a:prstGeom>
          <a:solidFill>
            <a:srgbClr val="E8327C"/>
          </a:solidFill>
        </p:spPr>
        <p:txBody>
          <a:bodyPr vert="horz" lIns="91408" tIns="45704" rIns="91408" bIns="45704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869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02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73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  <p:sp>
        <p:nvSpPr>
          <p:cNvPr id="85" name="Text Placeholder 2"/>
          <p:cNvSpPr>
            <a:spLocks noGrp="1"/>
          </p:cNvSpPr>
          <p:nvPr>
            <p:ph type="body" sz="quarter" idx="38" hasCustomPrompt="1"/>
          </p:nvPr>
        </p:nvSpPr>
        <p:spPr>
          <a:xfrm>
            <a:off x="9065904" y="4671372"/>
            <a:ext cx="474133" cy="476249"/>
          </a:xfrm>
          <a:prstGeom prst="rect">
            <a:avLst/>
          </a:prstGeom>
          <a:solidFill>
            <a:srgbClr val="FFED00"/>
          </a:solidFill>
        </p:spPr>
        <p:txBody>
          <a:bodyPr vert="horz" lIns="91408" tIns="45704" rIns="91408" bIns="45704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869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02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73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  <p:sp>
        <p:nvSpPr>
          <p:cNvPr id="86" name="Text Placeholder 2"/>
          <p:cNvSpPr>
            <a:spLocks noGrp="1"/>
          </p:cNvSpPr>
          <p:nvPr>
            <p:ph type="body" sz="quarter" idx="39" hasCustomPrompt="1"/>
          </p:nvPr>
        </p:nvSpPr>
        <p:spPr>
          <a:xfrm>
            <a:off x="3178008" y="4670888"/>
            <a:ext cx="474133" cy="476249"/>
          </a:xfrm>
          <a:prstGeom prst="rect">
            <a:avLst/>
          </a:prstGeom>
          <a:solidFill>
            <a:srgbClr val="88CDD3"/>
          </a:solidFill>
        </p:spPr>
        <p:txBody>
          <a:bodyPr vert="horz" lIns="91408" tIns="45704" rIns="91408" bIns="45704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869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02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73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0046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_You">
    <p:bg>
      <p:bgPr>
        <a:solidFill>
          <a:srgbClr val="FFC4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/>
          <p:cNvSpPr txBox="1">
            <a:spLocks/>
          </p:cNvSpPr>
          <p:nvPr/>
        </p:nvSpPr>
        <p:spPr bwMode="auto">
          <a:xfrm>
            <a:off x="971573" y="977922"/>
            <a:ext cx="3295649" cy="681567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25393" tIns="25393" rIns="25393" bIns="25393"/>
          <a:lstStyle>
            <a:lvl1pPr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defRPr sz="2400" b="0" baseline="0">
                <a:solidFill>
                  <a:schemeClr val="tx1"/>
                </a:solidFill>
                <a:latin typeface="+mj-lt"/>
                <a:ea typeface="+mj-ea"/>
                <a:cs typeface="Cooper Black Telenet Black"/>
                <a:sym typeface="Helvetica" charset="0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5pPr>
            <a:lvl6pPr marL="171410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6pPr>
            <a:lvl7pPr marL="34281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7pPr>
            <a:lvl8pPr marL="514226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8pPr>
            <a:lvl9pPr marL="68563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9pPr>
          </a:lstStyle>
          <a:p>
            <a:pPr defTabSz="609331">
              <a:defRPr/>
            </a:pPr>
            <a:r>
              <a:rPr lang="en-US" sz="3733">
                <a:solidFill>
                  <a:srgbClr val="FFFFFF"/>
                </a:solidFill>
                <a:latin typeface="Arial Black"/>
                <a:cs typeface="Arial Black"/>
              </a:rPr>
              <a:t>THANK YOU</a:t>
            </a:r>
          </a:p>
        </p:txBody>
      </p:sp>
      <p:pic>
        <p:nvPicPr>
          <p:cNvPr id="3" name="Picture 2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746230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lIns="91438" tIns="45719" rIns="91438" bIns="45719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lIns="91438" tIns="45719" rIns="91438" bIns="45719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609331"/>
            <a:fld id="{F986433A-5DC2-4980-871B-32BD1E9F0528}" type="datetimeFigureOut">
              <a:rPr lang="en-US" smtClean="0">
                <a:solidFill>
                  <a:srgbClr val="000000"/>
                </a:solidFill>
              </a:rPr>
              <a:pPr defTabSz="609331"/>
              <a:t>2/15/2021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609331"/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609331"/>
            <a:fld id="{F3185BE7-6F02-4836-965B-07D3592D8D40}" type="slidenum">
              <a:rPr lang="en-US" smtClean="0">
                <a:solidFill>
                  <a:srgbClr val="000000"/>
                </a:solidFill>
              </a:rPr>
              <a:pPr defTabSz="609331"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606196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Intr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5469992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727316"/>
            <a:ext cx="3297698" cy="666786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3424943"/>
            <a:ext cx="3297698" cy="66678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0" y="4201508"/>
            <a:ext cx="4990277" cy="584775"/>
          </a:xfrm>
          <a:prstGeom prst="rect">
            <a:avLst/>
          </a:prstGeom>
        </p:spPr>
        <p:txBody>
          <a:bodyPr vert="horz" wrap="none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85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54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33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r>
              <a:rPr lang="nl-BE"/>
              <a:t>Date – Venue - Presenter</a:t>
            </a:r>
          </a:p>
        </p:txBody>
      </p:sp>
    </p:spTree>
    <p:extLst>
      <p:ext uri="{BB962C8B-B14F-4D97-AF65-F5344CB8AC3E}">
        <p14:creationId xmlns:p14="http://schemas.microsoft.com/office/powerpoint/2010/main" val="30047429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_Title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1" y="261190"/>
            <a:ext cx="3330393" cy="692493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121917" tIns="60958" rIns="121917" bIns="60958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00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1326491"/>
            <a:ext cx="10176000" cy="5051511"/>
          </a:xfrm>
          <a:prstGeom prst="rect">
            <a:avLst/>
          </a:prstGeom>
        </p:spPr>
        <p:txBody>
          <a:bodyPr vert="horz" lIns="121917" tIns="60958" rIns="121917" bIns="60958"/>
          <a:lstStyle>
            <a:lvl1pPr marL="191990" indent="-191990">
              <a:lnSpc>
                <a:spcPct val="80000"/>
              </a:lnSpc>
              <a:buClr>
                <a:srgbClr val="249B98"/>
              </a:buClr>
              <a:buFont typeface="Wingdings" charset="2"/>
              <a:buChar char="§"/>
              <a:defRPr sz="2100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249B98"/>
              </a:buClr>
              <a:defRPr sz="2100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249B98"/>
              </a:buClr>
              <a:buFont typeface="Lucida Grande"/>
              <a:buChar char="&gt;"/>
              <a:defRPr sz="2100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00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00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343859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22D30-C245-496B-9A61-5DFC24F30204}" type="datetimeFigureOut">
              <a:rPr lang="en-US" smtClean="0"/>
              <a:t>2/1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D0FB-27D0-48AD-836E-82F0382361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54556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plitscreen_Bullets_Picture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8286202" y="3035639"/>
            <a:ext cx="5293406" cy="5293406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289560"/>
            <a:ext cx="11090275" cy="53671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4" y="1058400"/>
            <a:ext cx="1109027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291899" y="2583849"/>
            <a:ext cx="1690301" cy="1690301"/>
          </a:xfrm>
          <a:prstGeom prst="ellipse">
            <a:avLst/>
          </a:prstGeom>
          <a:solidFill>
            <a:schemeClr val="accent1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ummy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F4B3FD9-A387-6947-BF63-6BFB9B618E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0860" y="1537199"/>
            <a:ext cx="554514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9726795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_NoSubhead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731B2AB-1FB2-1F45-8BB3-6AC770979F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3221"/>
            <a:ext cx="11090275" cy="54305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00EAC61-D75C-484F-B27A-AC6214CEF4B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989676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19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5877AED-B432-954E-9526-F60C95863B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97615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2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20849689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19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5877AED-B432-954E-9526-F60C95863B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709767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bchapter_Photo_Background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add pictur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522717" y="-1891391"/>
            <a:ext cx="6400800" cy="6481573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2717" y="1074420"/>
            <a:ext cx="4118421" cy="55197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625976" y="1900046"/>
            <a:ext cx="401516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r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77988947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aphicContent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550864" y="1537200"/>
            <a:ext cx="11090275" cy="47715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32812620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Only_GraphicContent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10">
            <a:extLst>
              <a:ext uri="{FF2B5EF4-FFF2-40B4-BE49-F238E27FC236}">
                <a16:creationId xmlns:a16="http://schemas.microsoft.com/office/drawing/2014/main" id="{5C00C965-9744-7D4A-AD4A-9696C4632E9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50864" y="549276"/>
            <a:ext cx="11090275" cy="5759450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  <a:lvl2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72836487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ntr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2703879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727318"/>
            <a:ext cx="3297694" cy="666784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3424945"/>
            <a:ext cx="3297694" cy="66678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0" y="4201509"/>
            <a:ext cx="4990273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r>
              <a:rPr lang="nl-BE"/>
              <a:t>Date – Venue - Presenter</a:t>
            </a:r>
          </a:p>
        </p:txBody>
      </p:sp>
    </p:spTree>
    <p:extLst>
      <p:ext uri="{BB962C8B-B14F-4D97-AF65-F5344CB8AC3E}">
        <p14:creationId xmlns:p14="http://schemas.microsoft.com/office/powerpoint/2010/main" val="41838683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6182059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ontent Placeholder 8"/>
          <p:cNvSpPr txBox="1">
            <a:spLocks/>
          </p:cNvSpPr>
          <p:nvPr/>
        </p:nvSpPr>
        <p:spPr>
          <a:xfrm>
            <a:off x="3769785" y="6445788"/>
            <a:ext cx="4468283" cy="287867"/>
          </a:xfrm>
          <a:prstGeom prst="rect">
            <a:avLst/>
          </a:prstGeom>
        </p:spPr>
        <p:txBody>
          <a:bodyPr lIns="121917" tIns="60959" rIns="121917" bIns="60959"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nl-BE" sz="1067">
              <a:solidFill>
                <a:srgbClr val="000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1487955" y="6446396"/>
            <a:ext cx="412124" cy="287321"/>
          </a:xfrm>
          <a:prstGeom prst="rect">
            <a:avLst/>
          </a:prstGeom>
        </p:spPr>
        <p:txBody>
          <a:bodyPr wrap="square" lIns="121917" tIns="60959" rIns="121917" bIns="60959" rtlCol="0">
            <a:spAutoFit/>
          </a:bodyPr>
          <a:lstStyle/>
          <a:p>
            <a:pPr algn="r"/>
            <a:fld id="{CD86244B-4910-4E07-A371-E3EFC574BE10}" type="slidenum">
              <a:rPr lang="nl-BE" sz="1067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nl-BE" sz="1067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6185"/>
            <a:ext cx="10515600" cy="612611"/>
          </a:xfrm>
          <a:prstGeom prst="rect">
            <a:avLst/>
          </a:prstGeom>
        </p:spPr>
        <p:txBody>
          <a:bodyPr lIns="91438" tIns="45719" rIns="91438" bIns="45719"/>
          <a:lstStyle>
            <a:lvl1pPr algn="l">
              <a:defRPr sz="2400" b="1"/>
            </a:lvl1pPr>
          </a:lstStyle>
          <a:p>
            <a:r>
              <a:rPr lang="en-US" err="1"/>
              <a:t>Inhoud</a:t>
            </a:r>
            <a:endParaRPr lang="nl-BE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838200" y="1373309"/>
            <a:ext cx="10515600" cy="4851811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buClr>
                <a:schemeClr val="accent1"/>
              </a:buCl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54436261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483833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6185"/>
            <a:ext cx="10515600" cy="612611"/>
          </a:xfrm>
          <a:prstGeom prst="rect">
            <a:avLst/>
          </a:prstGeom>
        </p:spPr>
        <p:txBody>
          <a:bodyPr lIns="91438" tIns="45719" rIns="91438" bIns="45719"/>
          <a:lstStyle>
            <a:lvl1pPr algn="l">
              <a:defRPr sz="24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838199" y="2049024"/>
            <a:ext cx="4800000" cy="4176097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53800" y="2049024"/>
            <a:ext cx="4800000" cy="4176097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838199" y="1373308"/>
            <a:ext cx="4800000" cy="509579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553800" y="1373308"/>
            <a:ext cx="4800000" cy="509579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21" name="Content Placeholder 8"/>
          <p:cNvSpPr txBox="1">
            <a:spLocks/>
          </p:cNvSpPr>
          <p:nvPr/>
        </p:nvSpPr>
        <p:spPr>
          <a:xfrm>
            <a:off x="3769785" y="6445788"/>
            <a:ext cx="4468283" cy="287867"/>
          </a:xfrm>
          <a:prstGeom prst="rect">
            <a:avLst/>
          </a:prstGeom>
        </p:spPr>
        <p:txBody>
          <a:bodyPr lIns="121917" tIns="60959" rIns="121917" bIns="60959"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nl-BE" sz="1067">
              <a:solidFill>
                <a:srgbClr val="000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1487955" y="6446396"/>
            <a:ext cx="412124" cy="287321"/>
          </a:xfrm>
          <a:prstGeom prst="rect">
            <a:avLst/>
          </a:prstGeom>
        </p:spPr>
        <p:txBody>
          <a:bodyPr wrap="square" lIns="121917" tIns="60959" rIns="121917" bIns="60959" rtlCol="0">
            <a:spAutoFit/>
          </a:bodyPr>
          <a:lstStyle/>
          <a:p>
            <a:pPr algn="r"/>
            <a:fld id="{CD86244B-4910-4E07-A371-E3EFC574BE10}" type="slidenum">
              <a:rPr lang="nl-BE" sz="1067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nl-BE" sz="1067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909922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264470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6185"/>
            <a:ext cx="10515600" cy="612611"/>
          </a:xfrm>
          <a:prstGeom prst="rect">
            <a:avLst/>
          </a:prstGeom>
        </p:spPr>
        <p:txBody>
          <a:bodyPr lIns="91438" tIns="45719" rIns="91438" bIns="45719"/>
          <a:lstStyle>
            <a:lvl1pPr algn="l">
              <a:defRPr sz="24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838199" y="1373307"/>
            <a:ext cx="4800000" cy="4851812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53800" y="1373307"/>
            <a:ext cx="4800000" cy="4851812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7" name="Content Placeholder 8"/>
          <p:cNvSpPr txBox="1">
            <a:spLocks/>
          </p:cNvSpPr>
          <p:nvPr/>
        </p:nvSpPr>
        <p:spPr>
          <a:xfrm>
            <a:off x="3769785" y="6445788"/>
            <a:ext cx="4468283" cy="287867"/>
          </a:xfrm>
          <a:prstGeom prst="rect">
            <a:avLst/>
          </a:prstGeom>
        </p:spPr>
        <p:txBody>
          <a:bodyPr lIns="121917" tIns="60959" rIns="121917" bIns="60959"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nl-BE" sz="1067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1487955" y="6446396"/>
            <a:ext cx="412124" cy="287321"/>
          </a:xfrm>
          <a:prstGeom prst="rect">
            <a:avLst/>
          </a:prstGeom>
        </p:spPr>
        <p:txBody>
          <a:bodyPr wrap="square" lIns="121917" tIns="60959" rIns="121917" bIns="60959" rtlCol="0">
            <a:spAutoFit/>
          </a:bodyPr>
          <a:lstStyle/>
          <a:p>
            <a:pPr algn="r"/>
            <a:fld id="{CD86244B-4910-4E07-A371-E3EFC574BE10}" type="slidenum">
              <a:rPr lang="nl-BE" sz="1067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nl-BE" sz="1067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632992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6332420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6185"/>
            <a:ext cx="10515600" cy="612611"/>
          </a:xfrm>
          <a:prstGeom prst="rect">
            <a:avLst/>
          </a:prstGeom>
        </p:spPr>
        <p:txBody>
          <a:bodyPr lIns="91438" tIns="45719" rIns="91438" bIns="45719"/>
          <a:lstStyle>
            <a:lvl1pPr algn="l">
              <a:defRPr sz="24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838200" y="1373309"/>
            <a:ext cx="10515600" cy="4851811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buClr>
                <a:schemeClr val="accent1"/>
              </a:buCl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6" name="Content Placeholder 8"/>
          <p:cNvSpPr txBox="1">
            <a:spLocks/>
          </p:cNvSpPr>
          <p:nvPr/>
        </p:nvSpPr>
        <p:spPr>
          <a:xfrm>
            <a:off x="3769785" y="6445788"/>
            <a:ext cx="4468283" cy="287867"/>
          </a:xfrm>
          <a:prstGeom prst="rect">
            <a:avLst/>
          </a:prstGeom>
        </p:spPr>
        <p:txBody>
          <a:bodyPr lIns="121917" tIns="60959" rIns="121917" bIns="60959"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nl-BE" sz="1067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1487955" y="6446396"/>
            <a:ext cx="412124" cy="287321"/>
          </a:xfrm>
          <a:prstGeom prst="rect">
            <a:avLst/>
          </a:prstGeom>
        </p:spPr>
        <p:txBody>
          <a:bodyPr wrap="square" lIns="121917" tIns="60959" rIns="121917" bIns="60959" rtlCol="0">
            <a:spAutoFit/>
          </a:bodyPr>
          <a:lstStyle/>
          <a:p>
            <a:pPr algn="r"/>
            <a:fld id="{CD86244B-4910-4E07-A371-E3EFC574BE10}" type="slidenum">
              <a:rPr lang="nl-BE" sz="1067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nl-BE" sz="1067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045464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6185"/>
            <a:ext cx="10515600" cy="612611"/>
          </a:xfrm>
          <a:prstGeom prst="rect">
            <a:avLst/>
          </a:prstGeom>
        </p:spPr>
        <p:txBody>
          <a:bodyPr lIns="91438" tIns="45719" rIns="91438" bIns="45719"/>
          <a:lstStyle>
            <a:lvl1pPr algn="l">
              <a:defRPr sz="24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838199" y="2049025"/>
            <a:ext cx="4800000" cy="1638897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53800" y="2049025"/>
            <a:ext cx="4800000" cy="1638897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199" y="4586222"/>
            <a:ext cx="4800000" cy="1638897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6553800" y="4586222"/>
            <a:ext cx="4800000" cy="1638897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3933693"/>
            <a:ext cx="4800000" cy="509579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553800" y="3933693"/>
            <a:ext cx="4800000" cy="509579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838199" y="1373308"/>
            <a:ext cx="4800000" cy="509579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553800" y="1373308"/>
            <a:ext cx="4800000" cy="509579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17" name="Content Placeholder 8"/>
          <p:cNvSpPr txBox="1">
            <a:spLocks/>
          </p:cNvSpPr>
          <p:nvPr/>
        </p:nvSpPr>
        <p:spPr>
          <a:xfrm>
            <a:off x="3769785" y="6445788"/>
            <a:ext cx="4468283" cy="287867"/>
          </a:xfrm>
          <a:prstGeom prst="rect">
            <a:avLst/>
          </a:prstGeom>
        </p:spPr>
        <p:txBody>
          <a:bodyPr lIns="121917" tIns="60959" rIns="121917" bIns="60959"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nl-BE" sz="1067">
              <a:solidFill>
                <a:srgbClr val="00000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1487955" y="6446396"/>
            <a:ext cx="412124" cy="287321"/>
          </a:xfrm>
          <a:prstGeom prst="rect">
            <a:avLst/>
          </a:prstGeom>
        </p:spPr>
        <p:txBody>
          <a:bodyPr wrap="square" lIns="121917" tIns="60959" rIns="121917" bIns="60959" rtlCol="0">
            <a:spAutoFit/>
          </a:bodyPr>
          <a:lstStyle/>
          <a:p>
            <a:pPr algn="r"/>
            <a:fld id="{CD86244B-4910-4E07-A371-E3EFC574BE10}" type="slidenum">
              <a:rPr lang="nl-BE" sz="1067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nl-BE" sz="1067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38125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2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rgbClr val="F4A9C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F4A9C5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F4A9C5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F4A9C5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322956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980436"/>
            <a:ext cx="10176000" cy="5397565"/>
          </a:xfrm>
          <a:prstGeom prst="rect">
            <a:avLst/>
          </a:prstGeom>
        </p:spPr>
        <p:txBody>
          <a:bodyPr vert="horz" wrap="square" lIns="91438" tIns="45719" rIns="91438" bIns="45719" anchor="ctr" anchorCtr="0">
            <a:noAutofit/>
          </a:bodyPr>
          <a:lstStyle>
            <a:lvl1pPr marL="0" indent="0" algn="ctr">
              <a:lnSpc>
                <a:spcPct val="80000"/>
              </a:lnSpc>
              <a:buNone/>
              <a:defRPr sz="2667" b="1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itl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487955" y="6446396"/>
            <a:ext cx="412124" cy="287321"/>
          </a:xfrm>
          <a:prstGeom prst="rect">
            <a:avLst/>
          </a:prstGeom>
        </p:spPr>
        <p:txBody>
          <a:bodyPr wrap="square" lIns="121917" tIns="60959" rIns="121917" bIns="60959" rtlCol="0">
            <a:spAutoFit/>
          </a:bodyPr>
          <a:lstStyle/>
          <a:p>
            <a:pPr algn="r"/>
            <a:fld id="{CD86244B-4910-4E07-A371-E3EFC574BE10}" type="slidenum">
              <a:rPr lang="nl-BE" sz="1067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nl-BE" sz="1067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078395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698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25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74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02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7" name="Content Placeholder 8"/>
          <p:cNvSpPr txBox="1">
            <a:spLocks/>
          </p:cNvSpPr>
          <p:nvPr/>
        </p:nvSpPr>
        <p:spPr>
          <a:xfrm>
            <a:off x="3769785" y="6445788"/>
            <a:ext cx="4468283" cy="287867"/>
          </a:xfrm>
          <a:prstGeom prst="rect">
            <a:avLst/>
          </a:prstGeom>
        </p:spPr>
        <p:txBody>
          <a:bodyPr lIns="121917" tIns="60959" rIns="121917" bIns="60959"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nl-BE" sz="1067">
              <a:solidFill>
                <a:srgbClr val="FFFFFF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66326" y="5916775"/>
            <a:ext cx="874268" cy="7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9031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_You">
    <p:bg>
      <p:bgPr>
        <a:solidFill>
          <a:srgbClr val="FFC4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/>
          <p:cNvSpPr txBox="1">
            <a:spLocks/>
          </p:cNvSpPr>
          <p:nvPr/>
        </p:nvSpPr>
        <p:spPr bwMode="auto">
          <a:xfrm>
            <a:off x="971553" y="977902"/>
            <a:ext cx="3295649" cy="681567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25393" tIns="25393" rIns="25393" bIns="25393"/>
          <a:lstStyle>
            <a:lvl1pPr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defRPr sz="2400" b="0" baseline="0">
                <a:solidFill>
                  <a:schemeClr val="tx1"/>
                </a:solidFill>
                <a:latin typeface="+mj-lt"/>
                <a:ea typeface="+mj-ea"/>
                <a:cs typeface="Cooper Black Telenet Black"/>
                <a:sym typeface="Helvetica" charset="0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5pPr>
            <a:lvl6pPr marL="171410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6pPr>
            <a:lvl7pPr marL="34281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7pPr>
            <a:lvl8pPr marL="514226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8pPr>
            <a:lvl9pPr marL="68563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9pPr>
          </a:lstStyle>
          <a:p>
            <a:pPr>
              <a:defRPr/>
            </a:pPr>
            <a:r>
              <a:rPr lang="en-US" sz="3733">
                <a:solidFill>
                  <a:srgbClr val="FFFFFF"/>
                </a:solidFill>
                <a:latin typeface="Arial Black"/>
                <a:cs typeface="Arial Black"/>
              </a:rPr>
              <a:t>THANK YOU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66326" y="5916775"/>
            <a:ext cx="874268" cy="7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5396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ntro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9450009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727318"/>
            <a:ext cx="3297694" cy="666784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3424945"/>
            <a:ext cx="3297694" cy="66678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0" y="4201509"/>
            <a:ext cx="4990273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r>
              <a:rPr lang="nl-BE"/>
              <a:t>Date – Venue - Presenter</a:t>
            </a:r>
          </a:p>
        </p:txBody>
      </p:sp>
    </p:spTree>
    <p:extLst>
      <p:ext uri="{BB962C8B-B14F-4D97-AF65-F5344CB8AC3E}">
        <p14:creationId xmlns:p14="http://schemas.microsoft.com/office/powerpoint/2010/main" val="1147048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8664759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ontent Placeholder 8"/>
          <p:cNvSpPr txBox="1">
            <a:spLocks/>
          </p:cNvSpPr>
          <p:nvPr/>
        </p:nvSpPr>
        <p:spPr>
          <a:xfrm>
            <a:off x="3769785" y="6445788"/>
            <a:ext cx="4468283" cy="287867"/>
          </a:xfrm>
          <a:prstGeom prst="rect">
            <a:avLst/>
          </a:prstGeom>
        </p:spPr>
        <p:txBody>
          <a:bodyPr lIns="121917" tIns="60959" rIns="121917" bIns="60959"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nl-BE" sz="1067">
              <a:solidFill>
                <a:srgbClr val="000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1487955" y="6446396"/>
            <a:ext cx="412124" cy="287321"/>
          </a:xfrm>
          <a:prstGeom prst="rect">
            <a:avLst/>
          </a:prstGeom>
        </p:spPr>
        <p:txBody>
          <a:bodyPr wrap="square" lIns="121917" tIns="60959" rIns="121917" bIns="60959" rtlCol="0">
            <a:spAutoFit/>
          </a:bodyPr>
          <a:lstStyle/>
          <a:p>
            <a:pPr algn="r"/>
            <a:fld id="{CD86244B-4910-4E07-A371-E3EFC574BE10}" type="slidenum">
              <a:rPr lang="nl-BE" sz="1067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nl-BE" sz="1067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6185"/>
            <a:ext cx="10515600" cy="612611"/>
          </a:xfrm>
          <a:prstGeom prst="rect">
            <a:avLst/>
          </a:prstGeom>
        </p:spPr>
        <p:txBody>
          <a:bodyPr lIns="91438" tIns="45719" rIns="91438" bIns="45719"/>
          <a:lstStyle>
            <a:lvl1pPr algn="l">
              <a:defRPr sz="2400" b="1"/>
            </a:lvl1pPr>
          </a:lstStyle>
          <a:p>
            <a:r>
              <a:rPr lang="en-US" err="1"/>
              <a:t>Inhoud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838200" y="1373310"/>
            <a:ext cx="10515600" cy="4851809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buClr>
                <a:schemeClr val="accent1"/>
              </a:buCl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8284122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430475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 5"/>
          <p:cNvSpPr>
            <a:spLocks noGrp="1"/>
          </p:cNvSpPr>
          <p:nvPr>
            <p:ph sz="quarter" idx="13"/>
          </p:nvPr>
        </p:nvSpPr>
        <p:spPr>
          <a:xfrm>
            <a:off x="6553200" y="2049023"/>
            <a:ext cx="4800600" cy="4176095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6185"/>
            <a:ext cx="10515600" cy="612611"/>
          </a:xfrm>
          <a:prstGeom prst="rect">
            <a:avLst/>
          </a:prstGeom>
        </p:spPr>
        <p:txBody>
          <a:bodyPr lIns="91438" tIns="45719" rIns="91438" bIns="45719"/>
          <a:lstStyle>
            <a:lvl1pPr algn="l">
              <a:defRPr sz="24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838199" y="1373308"/>
            <a:ext cx="4800000" cy="509579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553800" y="1373308"/>
            <a:ext cx="4800000" cy="509579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21" name="Content Placeholder 8"/>
          <p:cNvSpPr txBox="1">
            <a:spLocks/>
          </p:cNvSpPr>
          <p:nvPr/>
        </p:nvSpPr>
        <p:spPr>
          <a:xfrm>
            <a:off x="3769785" y="6445788"/>
            <a:ext cx="4468283" cy="287867"/>
          </a:xfrm>
          <a:prstGeom prst="rect">
            <a:avLst/>
          </a:prstGeom>
        </p:spPr>
        <p:txBody>
          <a:bodyPr lIns="121917" tIns="60959" rIns="121917" bIns="60959"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nl-BE" sz="1067">
              <a:solidFill>
                <a:srgbClr val="000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1487955" y="6446396"/>
            <a:ext cx="412124" cy="287321"/>
          </a:xfrm>
          <a:prstGeom prst="rect">
            <a:avLst/>
          </a:prstGeom>
        </p:spPr>
        <p:txBody>
          <a:bodyPr wrap="square" lIns="121917" tIns="60959" rIns="121917" bIns="60959" rtlCol="0">
            <a:spAutoFit/>
          </a:bodyPr>
          <a:lstStyle/>
          <a:p>
            <a:pPr algn="r"/>
            <a:fld id="{CD86244B-4910-4E07-A371-E3EFC574BE10}" type="slidenum">
              <a:rPr lang="nl-BE" sz="1067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nl-BE" sz="1067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8"/>
          </p:nvPr>
        </p:nvSpPr>
        <p:spPr>
          <a:xfrm>
            <a:off x="838202" y="2048933"/>
            <a:ext cx="4799999" cy="4176184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6409307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4447339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6553200" y="1373717"/>
            <a:ext cx="4800600" cy="4851400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6185"/>
            <a:ext cx="10515600" cy="612611"/>
          </a:xfrm>
          <a:prstGeom prst="rect">
            <a:avLst/>
          </a:prstGeom>
        </p:spPr>
        <p:txBody>
          <a:bodyPr lIns="91438" tIns="45719" rIns="91438" bIns="45719"/>
          <a:lstStyle>
            <a:lvl1pPr algn="l">
              <a:defRPr sz="24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7" name="Content Placeholder 8"/>
          <p:cNvSpPr txBox="1">
            <a:spLocks/>
          </p:cNvSpPr>
          <p:nvPr/>
        </p:nvSpPr>
        <p:spPr>
          <a:xfrm>
            <a:off x="3769785" y="6445788"/>
            <a:ext cx="4468283" cy="287867"/>
          </a:xfrm>
          <a:prstGeom prst="rect">
            <a:avLst/>
          </a:prstGeom>
        </p:spPr>
        <p:txBody>
          <a:bodyPr lIns="121917" tIns="60959" rIns="121917" bIns="60959"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nl-BE" sz="1067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1487955" y="6446396"/>
            <a:ext cx="412124" cy="287321"/>
          </a:xfrm>
          <a:prstGeom prst="rect">
            <a:avLst/>
          </a:prstGeom>
        </p:spPr>
        <p:txBody>
          <a:bodyPr wrap="square" lIns="121917" tIns="60959" rIns="121917" bIns="60959" rtlCol="0">
            <a:spAutoFit/>
          </a:bodyPr>
          <a:lstStyle/>
          <a:p>
            <a:pPr algn="r"/>
            <a:fld id="{CD86244B-4910-4E07-A371-E3EFC574BE10}" type="slidenum">
              <a:rPr lang="nl-BE" sz="1067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nl-BE" sz="1067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838200" y="1373309"/>
            <a:ext cx="4800600" cy="4851811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4083915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1469655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6185"/>
            <a:ext cx="10515600" cy="612611"/>
          </a:xfrm>
          <a:prstGeom prst="rect">
            <a:avLst/>
          </a:prstGeom>
        </p:spPr>
        <p:txBody>
          <a:bodyPr lIns="91438" tIns="45719" rIns="91438" bIns="45719"/>
          <a:lstStyle>
            <a:lvl1pPr algn="l">
              <a:defRPr sz="24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838200" y="1373309"/>
            <a:ext cx="10515600" cy="4851811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buClr>
                <a:schemeClr val="accent1"/>
              </a:buCl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6" name="Content Placeholder 8"/>
          <p:cNvSpPr txBox="1">
            <a:spLocks/>
          </p:cNvSpPr>
          <p:nvPr/>
        </p:nvSpPr>
        <p:spPr>
          <a:xfrm>
            <a:off x="3769785" y="6445788"/>
            <a:ext cx="4468283" cy="287867"/>
          </a:xfrm>
          <a:prstGeom prst="rect">
            <a:avLst/>
          </a:prstGeom>
        </p:spPr>
        <p:txBody>
          <a:bodyPr lIns="121917" tIns="60959" rIns="121917" bIns="60959"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nl-BE" sz="1067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1487955" y="6446396"/>
            <a:ext cx="412124" cy="287321"/>
          </a:xfrm>
          <a:prstGeom prst="rect">
            <a:avLst/>
          </a:prstGeom>
        </p:spPr>
        <p:txBody>
          <a:bodyPr wrap="square" lIns="121917" tIns="60959" rIns="121917" bIns="60959" rtlCol="0">
            <a:spAutoFit/>
          </a:bodyPr>
          <a:lstStyle/>
          <a:p>
            <a:pPr algn="r"/>
            <a:fld id="{CD86244B-4910-4E07-A371-E3EFC574BE10}" type="slidenum">
              <a:rPr lang="nl-BE" sz="1067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nl-BE" sz="1067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488483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6185"/>
            <a:ext cx="10515600" cy="612611"/>
          </a:xfrm>
          <a:prstGeom prst="rect">
            <a:avLst/>
          </a:prstGeom>
        </p:spPr>
        <p:txBody>
          <a:bodyPr lIns="91438" tIns="45719" rIns="91438" bIns="45719"/>
          <a:lstStyle>
            <a:lvl1pPr algn="l">
              <a:defRPr sz="24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6" name="Content Placeholder 8"/>
          <p:cNvSpPr txBox="1">
            <a:spLocks/>
          </p:cNvSpPr>
          <p:nvPr/>
        </p:nvSpPr>
        <p:spPr>
          <a:xfrm>
            <a:off x="3769785" y="6445788"/>
            <a:ext cx="4468283" cy="287867"/>
          </a:xfrm>
          <a:prstGeom prst="rect">
            <a:avLst/>
          </a:prstGeom>
        </p:spPr>
        <p:txBody>
          <a:bodyPr lIns="121917" tIns="60959" rIns="121917" bIns="60959"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nl-BE" sz="1067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1487955" y="6446396"/>
            <a:ext cx="412124" cy="287321"/>
          </a:xfrm>
          <a:prstGeom prst="rect">
            <a:avLst/>
          </a:prstGeom>
        </p:spPr>
        <p:txBody>
          <a:bodyPr wrap="square" lIns="121917" tIns="60959" rIns="121917" bIns="60959" rtlCol="0">
            <a:spAutoFit/>
          </a:bodyPr>
          <a:lstStyle/>
          <a:p>
            <a:pPr algn="r"/>
            <a:fld id="{CD86244B-4910-4E07-A371-E3EFC574BE10}" type="slidenum">
              <a:rPr lang="nl-BE" sz="1067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nl-BE" sz="1067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5023711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6185"/>
            <a:ext cx="10515600" cy="612611"/>
          </a:xfrm>
          <a:prstGeom prst="rect">
            <a:avLst/>
          </a:prstGeom>
        </p:spPr>
        <p:txBody>
          <a:bodyPr lIns="91438" tIns="45719" rIns="91438" bIns="45719"/>
          <a:lstStyle>
            <a:lvl1pPr algn="l">
              <a:defRPr sz="24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3933693"/>
            <a:ext cx="4800000" cy="509579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6553800" y="3933693"/>
            <a:ext cx="4800000" cy="509579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838199" y="1373308"/>
            <a:ext cx="4800000" cy="509579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553800" y="1373308"/>
            <a:ext cx="4800000" cy="509579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itle</a:t>
            </a:r>
            <a:endParaRPr lang="nl-BE"/>
          </a:p>
        </p:txBody>
      </p:sp>
      <p:sp>
        <p:nvSpPr>
          <p:cNvPr id="17" name="Content Placeholder 8"/>
          <p:cNvSpPr txBox="1">
            <a:spLocks/>
          </p:cNvSpPr>
          <p:nvPr/>
        </p:nvSpPr>
        <p:spPr>
          <a:xfrm>
            <a:off x="3769785" y="6445788"/>
            <a:ext cx="4468283" cy="287867"/>
          </a:xfrm>
          <a:prstGeom prst="rect">
            <a:avLst/>
          </a:prstGeom>
        </p:spPr>
        <p:txBody>
          <a:bodyPr lIns="121917" tIns="60959" rIns="121917" bIns="60959"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nl-BE" sz="1067">
              <a:solidFill>
                <a:srgbClr val="00000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1487955" y="6446396"/>
            <a:ext cx="412124" cy="287321"/>
          </a:xfrm>
          <a:prstGeom prst="rect">
            <a:avLst/>
          </a:prstGeom>
        </p:spPr>
        <p:txBody>
          <a:bodyPr wrap="square" lIns="121917" tIns="60959" rIns="121917" bIns="60959" rtlCol="0">
            <a:spAutoFit/>
          </a:bodyPr>
          <a:lstStyle/>
          <a:p>
            <a:pPr algn="r"/>
            <a:fld id="{CD86244B-4910-4E07-A371-E3EFC574BE10}" type="slidenum">
              <a:rPr lang="nl-BE" sz="1067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nl-BE" sz="1067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8"/>
          </p:nvPr>
        </p:nvSpPr>
        <p:spPr>
          <a:xfrm>
            <a:off x="838201" y="2048935"/>
            <a:ext cx="4799999" cy="1638300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9"/>
          </p:nvPr>
        </p:nvSpPr>
        <p:spPr>
          <a:xfrm>
            <a:off x="838201" y="4586222"/>
            <a:ext cx="4799999" cy="1638300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20"/>
          </p:nvPr>
        </p:nvSpPr>
        <p:spPr>
          <a:xfrm>
            <a:off x="6553802" y="4586222"/>
            <a:ext cx="4799999" cy="1638300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Content Placeholder 3"/>
          <p:cNvSpPr>
            <a:spLocks noGrp="1"/>
          </p:cNvSpPr>
          <p:nvPr>
            <p:ph sz="quarter" idx="21"/>
          </p:nvPr>
        </p:nvSpPr>
        <p:spPr>
          <a:xfrm>
            <a:off x="6553802" y="2048935"/>
            <a:ext cx="4799999" cy="1638300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6100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2_SplitScreen">
    <p:bg>
      <p:bgPr>
        <a:solidFill>
          <a:srgbClr val="F4A9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70" y="244301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66" y="2615238"/>
            <a:ext cx="455569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4A9C5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05" y="3913294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37160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980436"/>
            <a:ext cx="10176000" cy="5397565"/>
          </a:xfrm>
          <a:prstGeom prst="rect">
            <a:avLst/>
          </a:prstGeom>
        </p:spPr>
        <p:txBody>
          <a:bodyPr vert="horz" wrap="square" lIns="91438" tIns="45719" rIns="91438" bIns="45719" anchor="ctr" anchorCtr="0">
            <a:noAutofit/>
          </a:bodyPr>
          <a:lstStyle>
            <a:lvl1pPr marL="0" indent="0" algn="ctr">
              <a:lnSpc>
                <a:spcPct val="80000"/>
              </a:lnSpc>
              <a:buNone/>
              <a:defRPr sz="2667" b="1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itl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487955" y="6446396"/>
            <a:ext cx="412124" cy="287321"/>
          </a:xfrm>
          <a:prstGeom prst="rect">
            <a:avLst/>
          </a:prstGeom>
        </p:spPr>
        <p:txBody>
          <a:bodyPr wrap="square" lIns="121917" tIns="60959" rIns="121917" bIns="60959" rtlCol="0">
            <a:spAutoFit/>
          </a:bodyPr>
          <a:lstStyle/>
          <a:p>
            <a:pPr algn="r"/>
            <a:fld id="{CD86244B-4910-4E07-A371-E3EFC574BE10}" type="slidenum">
              <a:rPr lang="nl-BE" sz="1067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nl-BE" sz="1067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9711309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698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25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74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02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7" name="Content Placeholder 8"/>
          <p:cNvSpPr txBox="1">
            <a:spLocks/>
          </p:cNvSpPr>
          <p:nvPr/>
        </p:nvSpPr>
        <p:spPr>
          <a:xfrm>
            <a:off x="3769785" y="6445788"/>
            <a:ext cx="4468283" cy="287867"/>
          </a:xfrm>
          <a:prstGeom prst="rect">
            <a:avLst/>
          </a:prstGeom>
        </p:spPr>
        <p:txBody>
          <a:bodyPr lIns="121917" tIns="60959" rIns="121917" bIns="60959"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nl-BE" sz="1067">
              <a:solidFill>
                <a:srgbClr val="FFFFFF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66326" y="5916775"/>
            <a:ext cx="874268" cy="7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185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_You">
    <p:bg>
      <p:bgPr>
        <a:solidFill>
          <a:srgbClr val="FFC4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/>
          <p:cNvSpPr txBox="1">
            <a:spLocks/>
          </p:cNvSpPr>
          <p:nvPr/>
        </p:nvSpPr>
        <p:spPr bwMode="auto">
          <a:xfrm>
            <a:off x="971553" y="977902"/>
            <a:ext cx="3295649" cy="681567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25393" tIns="25393" rIns="25393" bIns="25393"/>
          <a:lstStyle>
            <a:lvl1pPr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defRPr sz="2400" b="0" baseline="0">
                <a:solidFill>
                  <a:schemeClr val="tx1"/>
                </a:solidFill>
                <a:latin typeface="+mj-lt"/>
                <a:ea typeface="+mj-ea"/>
                <a:cs typeface="Cooper Black Telenet Black"/>
                <a:sym typeface="Helvetica" charset="0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5pPr>
            <a:lvl6pPr marL="171410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6pPr>
            <a:lvl7pPr marL="34281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7pPr>
            <a:lvl8pPr marL="514226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8pPr>
            <a:lvl9pPr marL="68563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9pPr>
          </a:lstStyle>
          <a:p>
            <a:pPr>
              <a:defRPr/>
            </a:pPr>
            <a:r>
              <a:rPr lang="en-US" sz="3733">
                <a:solidFill>
                  <a:srgbClr val="FFFFFF"/>
                </a:solidFill>
                <a:latin typeface="Arial Black"/>
                <a:cs typeface="Arial Black"/>
              </a:rPr>
              <a:t>THANK YOU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66326" y="5916775"/>
            <a:ext cx="874268" cy="7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1257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Title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FFC421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FFC421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FFC421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  <p:pic>
        <p:nvPicPr>
          <p:cNvPr id="39938" name="Picture 2" descr="C:\Users\bdelcroi\AppData\Local\Microsoft\Windows\Temporary Internet Files\Content.Outlook\1TTFMQJF\WEB-4150_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4019" y="6278759"/>
            <a:ext cx="839556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44266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_Yellow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4268" y="5102225"/>
            <a:ext cx="1166870" cy="120650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50861" y="1766052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59" y="2542512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1" y="6027234"/>
            <a:ext cx="11090275" cy="318067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12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 month 20XX </a:t>
            </a:r>
            <a:r>
              <a:rPr lang="mr-IN"/>
              <a:t>–</a:t>
            </a:r>
            <a:r>
              <a:rPr lang="en-US"/>
              <a:t> Venue – Presenter </a:t>
            </a:r>
          </a:p>
        </p:txBody>
      </p:sp>
    </p:spTree>
    <p:extLst>
      <p:ext uri="{BB962C8B-B14F-4D97-AF65-F5344CB8AC3E}">
        <p14:creationId xmlns:p14="http://schemas.microsoft.com/office/powerpoint/2010/main" val="259083883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19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5877AED-B432-954E-9526-F60C95863B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082523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_NoSubhead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731B2AB-1FB2-1F45-8BB3-6AC770979F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3221"/>
            <a:ext cx="11090275" cy="54305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00EAC61-D75C-484F-B27A-AC6214CEF4B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181176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Only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8B4EE28-507A-D444-A662-037CB6F331C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2" y="549275"/>
            <a:ext cx="11090275" cy="5759450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803506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Only_GraphicContent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10">
            <a:extLst>
              <a:ext uri="{FF2B5EF4-FFF2-40B4-BE49-F238E27FC236}">
                <a16:creationId xmlns:a16="http://schemas.microsoft.com/office/drawing/2014/main" id="{5C00C965-9744-7D4A-AD4A-9696C4632E9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50864" y="549276"/>
            <a:ext cx="11090275" cy="5759450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  <a:lvl2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58386054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44161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2_SplitScreen_Content">
    <p:bg>
      <p:bgPr>
        <a:solidFill>
          <a:srgbClr val="F4A9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41" y="2549006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00" y="1839921"/>
            <a:ext cx="3524249" cy="709083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57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914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70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82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08" y="3688109"/>
            <a:ext cx="4449233" cy="24278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570" indent="0" algn="ctr">
              <a:buFontTx/>
              <a:buNone/>
              <a:defRPr sz="2400" baseline="0">
                <a:latin typeface="Arial"/>
              </a:defRPr>
            </a:lvl2pPr>
            <a:lvl3pPr marL="1219140" indent="0" algn="ctr">
              <a:buFontTx/>
              <a:buNone/>
              <a:defRPr sz="2400" baseline="0">
                <a:latin typeface="Arial"/>
              </a:defRPr>
            </a:lvl3pPr>
            <a:lvl4pPr marL="1828709" indent="0" algn="ctr">
              <a:buFontTx/>
              <a:buNone/>
              <a:defRPr sz="2400" baseline="0">
                <a:latin typeface="Arial"/>
              </a:defRPr>
            </a:lvl4pPr>
            <a:lvl5pPr marL="24382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28746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Yellow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4268" y="5102225"/>
            <a:ext cx="1166870" cy="12065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4BF23DE-B376-2541-A5A6-EF86798616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1" y="1766052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14136BA-4A07-3841-A234-C49E1EF741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59" y="2542512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02447972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Background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add pictur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522717" y="-1891391"/>
            <a:ext cx="6400800" cy="6481573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2717" y="1074420"/>
            <a:ext cx="4118421" cy="55197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625976" y="1900046"/>
            <a:ext cx="401516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r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927367306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Background_02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-930332" y="-1547611"/>
            <a:ext cx="7026332" cy="7114999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5" y="1508760"/>
            <a:ext cx="5545135" cy="545297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2323887"/>
            <a:ext cx="549732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95494226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Circle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7539786" y="-1569307"/>
            <a:ext cx="5754014" cy="5754012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`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1"/>
            <a:ext cx="11090275" cy="54433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87D71AB-BACC-2C4F-88EB-31C7CF4415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277422790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screen_Bullets_Picture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8286202" y="3035639"/>
            <a:ext cx="5293406" cy="5293406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50863" y="3429000"/>
            <a:ext cx="5545137" cy="2879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289560"/>
            <a:ext cx="11090275" cy="53671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4" y="1058400"/>
            <a:ext cx="1109027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291899" y="2583849"/>
            <a:ext cx="1690301" cy="1690301"/>
          </a:xfrm>
          <a:prstGeom prst="ellipse">
            <a:avLst/>
          </a:prstGeom>
          <a:solidFill>
            <a:schemeClr val="accent1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ummy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F4B3FD9-A387-6947-BF63-6BFB9B618E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0860" y="1537199"/>
            <a:ext cx="554514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8775301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screen_Picture_Text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-884692" y="3035639"/>
            <a:ext cx="5293406" cy="5293406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096000" y="1537200"/>
            <a:ext cx="5545139" cy="4771525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 marL="6286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  <a:lvl6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291863" y="3325639"/>
            <a:ext cx="2092325" cy="2092325"/>
          </a:xfrm>
          <a:prstGeom prst="ellipse">
            <a:avLst/>
          </a:prstGeom>
          <a:solidFill>
            <a:schemeClr val="accent1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ummy Text</a:t>
            </a:r>
          </a:p>
        </p:txBody>
      </p:sp>
    </p:spTree>
    <p:extLst>
      <p:ext uri="{BB962C8B-B14F-4D97-AF65-F5344CB8AC3E}">
        <p14:creationId xmlns:p14="http://schemas.microsoft.com/office/powerpoint/2010/main" val="846880350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cContent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550864" y="1537200"/>
            <a:ext cx="11090275" cy="47715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1307333059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cContent_02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550865" y="2162398"/>
            <a:ext cx="5545136" cy="414632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A4076932-AF3E-6843-9BD8-0856ED8A921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096002" y="2162398"/>
            <a:ext cx="5545136" cy="414632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B0C66DD-B383-5A4D-826C-8206B8E6FC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6809" y="1537198"/>
            <a:ext cx="5433247" cy="395701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DF9788C-6FDD-184F-BEC5-18D16E078D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2362126531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2_Text_Graphic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1"/>
            <a:ext cx="11090275" cy="55195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4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50860" y="1537200"/>
            <a:ext cx="5545139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6207892" y="2162398"/>
            <a:ext cx="5433247" cy="4146327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65B969F-7F54-9B47-9F9C-E8699BDD002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2591317952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3_GraphicContent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21" hasCustomPrompt="1"/>
          </p:nvPr>
        </p:nvSpPr>
        <p:spPr>
          <a:xfrm>
            <a:off x="550863" y="2151573"/>
            <a:ext cx="5444823" cy="4157152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6207892" y="2151574"/>
            <a:ext cx="5433247" cy="161523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59080"/>
            <a:ext cx="11090275" cy="56719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BB9899A-7332-2543-AA31-75A80A2253F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2439" y="1531786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A82464C-5DA5-AE46-A8BB-63FEEF5A8F3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C17CE1B-488E-704E-A955-CE21B3BFA07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07891" y="40322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21" name="Content Placeholder 10">
            <a:extLst>
              <a:ext uri="{FF2B5EF4-FFF2-40B4-BE49-F238E27FC236}">
                <a16:creationId xmlns:a16="http://schemas.microsoft.com/office/drawing/2014/main" id="{F02E5D4A-53A5-784B-B43F-7EE7B3E5D1E3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6207891" y="4693487"/>
            <a:ext cx="5433247" cy="161523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30043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ntro">
    <p:bg>
      <p:bgPr>
        <a:blipFill dpi="0" rotWithShape="1">
          <a:blip r:embed="rId3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Telenet_Smiley_neg_RGB copy.pd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283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758455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2_SplitScreen_Bullets">
    <p:bg>
      <p:bgPr>
        <a:solidFill>
          <a:srgbClr val="F4A9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26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66"/>
            <a:ext cx="1018801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25" y="2319619"/>
            <a:ext cx="4301825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570615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4_GraphicContent_02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550862" y="1537200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3" hasCustomPrompt="1"/>
          </p:nvPr>
        </p:nvSpPr>
        <p:spPr>
          <a:xfrm>
            <a:off x="550863" y="4160517"/>
            <a:ext cx="5446800" cy="188927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0864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0866" y="10584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194339" y="10584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3658501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194339" y="36585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0" name="Content Placeholder 10"/>
          <p:cNvSpPr>
            <a:spLocks noGrp="1"/>
          </p:cNvSpPr>
          <p:nvPr>
            <p:ph sz="quarter" idx="21" hasCustomPrompt="1"/>
          </p:nvPr>
        </p:nvSpPr>
        <p:spPr>
          <a:xfrm>
            <a:off x="6194339" y="1537416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91B0C169-76CA-0A46-8341-12E8CFC4170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4339" y="4147820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3584119185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2_Bullets_Bullets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0"/>
            <a:ext cx="11090275" cy="54433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6" y="1058400"/>
            <a:ext cx="541416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DD1F4E9-8922-9246-893A-4AAD1DAB57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26974" y="1058400"/>
            <a:ext cx="541416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7F948E1-88E7-144B-82DC-47F77472DD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0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A9F090C-39E6-5A49-8E48-7ED95D33FCC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26974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80285843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2_Text_Text_02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39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50860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226740" y="1537200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 cap="none" baseline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Next Subhead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226740" y="2234109"/>
            <a:ext cx="5414400" cy="4074617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 marL="628650" indent="-17145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7443597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4_Text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451518"/>
            <a:ext cx="5414400" cy="467408"/>
          </a:xfrm>
          <a:prstGeom prst="rect">
            <a:avLst/>
          </a:prstGeom>
        </p:spPr>
        <p:txBody>
          <a:bodyPr lIns="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50863" y="2106592"/>
            <a:ext cx="5414400" cy="1697468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226740" y="1455593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226740" y="2106592"/>
            <a:ext cx="5414400" cy="1697468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3989890"/>
            <a:ext cx="5414400" cy="467408"/>
          </a:xfrm>
          <a:prstGeom prst="rect">
            <a:avLst/>
          </a:prstGeom>
        </p:spPr>
        <p:txBody>
          <a:bodyPr lIns="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50862" y="4604187"/>
            <a:ext cx="5414400" cy="1697468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26740" y="3989890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226740" y="4604187"/>
            <a:ext cx="5414400" cy="1697468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6096000" y="1690688"/>
            <a:ext cx="0" cy="437587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550863" y="3896975"/>
            <a:ext cx="1109027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7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550863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2B3B01F4-C432-5B44-94B6-85381CDF171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579229958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50862" y="1850637"/>
            <a:ext cx="11090276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4730363"/>
            <a:ext cx="11090276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3993000746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_02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4914066" y="549275"/>
            <a:ext cx="2363868" cy="2363868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50863" y="4220815"/>
            <a:ext cx="11090275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i="1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“Lorem Ipsum”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5674527"/>
            <a:ext cx="11090275" cy="2492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1800" b="1" i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John Doe</a:t>
            </a:r>
          </a:p>
        </p:txBody>
      </p:sp>
    </p:spTree>
    <p:extLst>
      <p:ext uri="{BB962C8B-B14F-4D97-AF65-F5344CB8AC3E}">
        <p14:creationId xmlns:p14="http://schemas.microsoft.com/office/powerpoint/2010/main" val="2409777596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s_Circles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1145596" y="2655193"/>
            <a:ext cx="5435687" cy="5435687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18"/>
          <p:cNvSpPr>
            <a:spLocks noGrp="1"/>
          </p:cNvSpPr>
          <p:nvPr>
            <p:ph type="pic" sz="quarter" idx="11"/>
          </p:nvPr>
        </p:nvSpPr>
        <p:spPr>
          <a:xfrm>
            <a:off x="7707220" y="3678137"/>
            <a:ext cx="3933918" cy="3933918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18"/>
          <p:cNvSpPr>
            <a:spLocks noGrp="1"/>
          </p:cNvSpPr>
          <p:nvPr>
            <p:ph type="pic" sz="quarter" idx="12"/>
          </p:nvPr>
        </p:nvSpPr>
        <p:spPr>
          <a:xfrm>
            <a:off x="5488455" y="-745946"/>
            <a:ext cx="4067370" cy="406737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281939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9E6DAA9-0566-3143-95E3-B552E185BB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385748671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s_Circles_02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7319469" y="-2327732"/>
            <a:ext cx="6361851" cy="6361849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`</a:t>
            </a:r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7528017" y="2795597"/>
            <a:ext cx="6361851" cy="6361849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`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-1730403" y="2795597"/>
            <a:ext cx="6361851" cy="6361849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`</a:t>
            </a:r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-1730402" y="-2327733"/>
            <a:ext cx="6361851" cy="6361849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`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63291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ood Morning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486" y="1539942"/>
            <a:ext cx="8897003" cy="3744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88138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ffee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9383339" y="3429000"/>
            <a:ext cx="1882588" cy="1882588"/>
          </a:xfrm>
          <a:prstGeom prst="ellipse">
            <a:avLst/>
          </a:prstGeom>
          <a:solidFill>
            <a:schemeClr val="accent1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ee you at </a:t>
            </a:r>
            <a:r>
              <a:rPr lang="en-US" err="1"/>
              <a:t>xxH</a:t>
            </a:r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359" y="1615592"/>
            <a:ext cx="6765243" cy="355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0271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3">
    <p:bg>
      <p:bgPr>
        <a:solidFill>
          <a:srgbClr val="E8327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698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25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74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02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20590511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288" y="1435261"/>
            <a:ext cx="6879985" cy="3989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270064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11B9F4A-A33D-F24D-9F3D-FBC1126FA8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3150" y="2319186"/>
            <a:ext cx="2146719" cy="2219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0858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E59E4D4-369F-1641-B62F-FAF951A05A50}"/>
              </a:ext>
            </a:extLst>
          </p:cNvPr>
          <p:cNvGrpSpPr/>
          <p:nvPr/>
        </p:nvGrpSpPr>
        <p:grpSpPr>
          <a:xfrm>
            <a:off x="2830181" y="1810518"/>
            <a:ext cx="697198" cy="558712"/>
            <a:chOff x="1843783" y="1431132"/>
            <a:chExt cx="317568" cy="254489"/>
          </a:xfrm>
          <a:solidFill>
            <a:schemeClr val="accent1"/>
          </a:solidFill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C06D56FC-0379-AE48-B42D-BE9F65319892}"/>
                </a:ext>
              </a:extLst>
            </p:cNvPr>
            <p:cNvGrpSpPr/>
            <p:nvPr/>
          </p:nvGrpSpPr>
          <p:grpSpPr>
            <a:xfrm>
              <a:off x="1843783" y="1431132"/>
              <a:ext cx="317568" cy="228055"/>
              <a:chOff x="1843783" y="1431132"/>
              <a:chExt cx="317568" cy="228055"/>
            </a:xfrm>
            <a:grpFill/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EF124243-E433-A247-AEFC-A2B4D9628AD6}"/>
                  </a:ext>
                </a:extLst>
              </p:cNvPr>
              <p:cNvSpPr/>
              <p:nvPr/>
            </p:nvSpPr>
            <p:spPr>
              <a:xfrm>
                <a:off x="1843783" y="1431132"/>
                <a:ext cx="202406" cy="203431"/>
              </a:xfrm>
              <a:custGeom>
                <a:avLst/>
                <a:gdLst>
                  <a:gd name="connsiteX0" fmla="*/ 44053 w 202406"/>
                  <a:gd name="connsiteY0" fmla="*/ 114610 h 203431"/>
                  <a:gd name="connsiteX1" fmla="*/ 44053 w 202406"/>
                  <a:gd name="connsiteY1" fmla="*/ 160329 h 203431"/>
                  <a:gd name="connsiteX2" fmla="*/ 101203 w 202406"/>
                  <a:gd name="connsiteY2" fmla="*/ 160329 h 203431"/>
                  <a:gd name="connsiteX3" fmla="*/ 101203 w 202406"/>
                  <a:gd name="connsiteY3" fmla="*/ 114610 h 203431"/>
                  <a:gd name="connsiteX4" fmla="*/ 132197 w 202406"/>
                  <a:gd name="connsiteY4" fmla="*/ 0 h 203431"/>
                  <a:gd name="connsiteX5" fmla="*/ 150197 w 202406"/>
                  <a:gd name="connsiteY5" fmla="*/ 0 h 203431"/>
                  <a:gd name="connsiteX6" fmla="*/ 150197 w 202406"/>
                  <a:gd name="connsiteY6" fmla="*/ 52766 h 203431"/>
                  <a:gd name="connsiteX7" fmla="*/ 202406 w 202406"/>
                  <a:gd name="connsiteY7" fmla="*/ 100319 h 203431"/>
                  <a:gd name="connsiteX8" fmla="*/ 181670 w 202406"/>
                  <a:gd name="connsiteY8" fmla="*/ 100319 h 203431"/>
                  <a:gd name="connsiteX9" fmla="*/ 181670 w 202406"/>
                  <a:gd name="connsiteY9" fmla="*/ 203431 h 203431"/>
                  <a:gd name="connsiteX10" fmla="*/ 166023 w 202406"/>
                  <a:gd name="connsiteY10" fmla="*/ 203431 h 203431"/>
                  <a:gd name="connsiteX11" fmla="*/ 166023 w 202406"/>
                  <a:gd name="connsiteY11" fmla="*/ 114610 h 203431"/>
                  <a:gd name="connsiteX12" fmla="*/ 120304 w 202406"/>
                  <a:gd name="connsiteY12" fmla="*/ 114610 h 203431"/>
                  <a:gd name="connsiteX13" fmla="*/ 120304 w 202406"/>
                  <a:gd name="connsiteY13" fmla="*/ 203431 h 203431"/>
                  <a:gd name="connsiteX14" fmla="*/ 20736 w 202406"/>
                  <a:gd name="connsiteY14" fmla="*/ 203431 h 203431"/>
                  <a:gd name="connsiteX15" fmla="*/ 20736 w 202406"/>
                  <a:gd name="connsiteY15" fmla="*/ 100319 h 203431"/>
                  <a:gd name="connsiteX16" fmla="*/ 0 w 202406"/>
                  <a:gd name="connsiteY16" fmla="*/ 100319 h 203431"/>
                  <a:gd name="connsiteX17" fmla="*/ 101203 w 202406"/>
                  <a:gd name="connsiteY17" fmla="*/ 8142 h 203431"/>
                  <a:gd name="connsiteX18" fmla="*/ 132197 w 202406"/>
                  <a:gd name="connsiteY18" fmla="*/ 36372 h 203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2406" h="203431">
                    <a:moveTo>
                      <a:pt x="44053" y="114610"/>
                    </a:moveTo>
                    <a:lnTo>
                      <a:pt x="44053" y="160329"/>
                    </a:lnTo>
                    <a:lnTo>
                      <a:pt x="101203" y="160329"/>
                    </a:lnTo>
                    <a:lnTo>
                      <a:pt x="101203" y="114610"/>
                    </a:lnTo>
                    <a:close/>
                    <a:moveTo>
                      <a:pt x="132197" y="0"/>
                    </a:moveTo>
                    <a:lnTo>
                      <a:pt x="150197" y="0"/>
                    </a:lnTo>
                    <a:lnTo>
                      <a:pt x="150197" y="52766"/>
                    </a:lnTo>
                    <a:lnTo>
                      <a:pt x="202406" y="100319"/>
                    </a:lnTo>
                    <a:lnTo>
                      <a:pt x="181670" y="100319"/>
                    </a:lnTo>
                    <a:lnTo>
                      <a:pt x="181670" y="203431"/>
                    </a:lnTo>
                    <a:lnTo>
                      <a:pt x="166023" y="203431"/>
                    </a:lnTo>
                    <a:lnTo>
                      <a:pt x="166023" y="114610"/>
                    </a:lnTo>
                    <a:lnTo>
                      <a:pt x="120304" y="114610"/>
                    </a:lnTo>
                    <a:lnTo>
                      <a:pt x="120304" y="203431"/>
                    </a:lnTo>
                    <a:lnTo>
                      <a:pt x="20736" y="203431"/>
                    </a:lnTo>
                    <a:lnTo>
                      <a:pt x="20736" y="100319"/>
                    </a:lnTo>
                    <a:lnTo>
                      <a:pt x="0" y="100319"/>
                    </a:lnTo>
                    <a:lnTo>
                      <a:pt x="101203" y="8142"/>
                    </a:lnTo>
                    <a:lnTo>
                      <a:pt x="132197" y="36372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D3ED9753-4AC7-5249-91A0-3D0454446DAB}"/>
                  </a:ext>
                </a:extLst>
              </p:cNvPr>
              <p:cNvSpPr/>
              <p:nvPr/>
            </p:nvSpPr>
            <p:spPr>
              <a:xfrm>
                <a:off x="1985877" y="1578915"/>
                <a:ext cx="175474" cy="80272"/>
              </a:xfrm>
              <a:custGeom>
                <a:avLst/>
                <a:gdLst>
                  <a:gd name="connsiteX0" fmla="*/ 90347 w 175474"/>
                  <a:gd name="connsiteY0" fmla="*/ 13912 h 80272"/>
                  <a:gd name="connsiteX1" fmla="*/ 90347 w 175474"/>
                  <a:gd name="connsiteY1" fmla="*/ 49912 h 80272"/>
                  <a:gd name="connsiteX2" fmla="*/ 123020 w 175474"/>
                  <a:gd name="connsiteY2" fmla="*/ 49912 h 80272"/>
                  <a:gd name="connsiteX3" fmla="*/ 126347 w 175474"/>
                  <a:gd name="connsiteY3" fmla="*/ 49912 h 80272"/>
                  <a:gd name="connsiteX4" fmla="*/ 159020 w 175474"/>
                  <a:gd name="connsiteY4" fmla="*/ 49912 h 80272"/>
                  <a:gd name="connsiteX5" fmla="*/ 126347 w 175474"/>
                  <a:gd name="connsiteY5" fmla="*/ 17239 h 80272"/>
                  <a:gd name="connsiteX6" fmla="*/ 126347 w 175474"/>
                  <a:gd name="connsiteY6" fmla="*/ 13912 h 80272"/>
                  <a:gd name="connsiteX7" fmla="*/ 123020 w 175474"/>
                  <a:gd name="connsiteY7" fmla="*/ 13912 h 80272"/>
                  <a:gd name="connsiteX8" fmla="*/ 121127 w 175474"/>
                  <a:gd name="connsiteY8" fmla="*/ 0 h 80272"/>
                  <a:gd name="connsiteX9" fmla="*/ 175474 w 175474"/>
                  <a:gd name="connsiteY9" fmla="*/ 51449 h 80272"/>
                  <a:gd name="connsiteX10" fmla="*/ 175474 w 175474"/>
                  <a:gd name="connsiteY10" fmla="*/ 79200 h 80272"/>
                  <a:gd name="connsiteX11" fmla="*/ 121127 w 175474"/>
                  <a:gd name="connsiteY11" fmla="*/ 79200 h 80272"/>
                  <a:gd name="connsiteX12" fmla="*/ 121127 w 175474"/>
                  <a:gd name="connsiteY12" fmla="*/ 80272 h 80272"/>
                  <a:gd name="connsiteX13" fmla="*/ 0 w 175474"/>
                  <a:gd name="connsiteY13" fmla="*/ 80272 h 80272"/>
                  <a:gd name="connsiteX14" fmla="*/ 0 w 175474"/>
                  <a:gd name="connsiteY14" fmla="*/ 791 h 80272"/>
                  <a:gd name="connsiteX15" fmla="*/ 121127 w 175474"/>
                  <a:gd name="connsiteY15" fmla="*/ 791 h 80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5474" h="80272">
                    <a:moveTo>
                      <a:pt x="90347" y="13912"/>
                    </a:moveTo>
                    <a:lnTo>
                      <a:pt x="90347" y="49912"/>
                    </a:lnTo>
                    <a:lnTo>
                      <a:pt x="123020" y="49912"/>
                    </a:lnTo>
                    <a:lnTo>
                      <a:pt x="126347" y="49912"/>
                    </a:lnTo>
                    <a:lnTo>
                      <a:pt x="159020" y="49912"/>
                    </a:lnTo>
                    <a:lnTo>
                      <a:pt x="126347" y="17239"/>
                    </a:lnTo>
                    <a:lnTo>
                      <a:pt x="126347" y="13912"/>
                    </a:lnTo>
                    <a:lnTo>
                      <a:pt x="123020" y="13912"/>
                    </a:lnTo>
                    <a:close/>
                    <a:moveTo>
                      <a:pt x="121127" y="0"/>
                    </a:moveTo>
                    <a:lnTo>
                      <a:pt x="175474" y="51449"/>
                    </a:lnTo>
                    <a:lnTo>
                      <a:pt x="175474" y="79200"/>
                    </a:lnTo>
                    <a:lnTo>
                      <a:pt x="121127" y="79200"/>
                    </a:lnTo>
                    <a:lnTo>
                      <a:pt x="121127" y="80272"/>
                    </a:lnTo>
                    <a:lnTo>
                      <a:pt x="0" y="80272"/>
                    </a:lnTo>
                    <a:lnTo>
                      <a:pt x="0" y="791"/>
                    </a:lnTo>
                    <a:lnTo>
                      <a:pt x="121127" y="791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/>
              </a:p>
            </p:txBody>
          </p:sp>
        </p:grp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3085336-4D23-B947-988F-726AEDC289E0}"/>
                </a:ext>
              </a:extLst>
            </p:cNvPr>
            <p:cNvSpPr/>
            <p:nvPr/>
          </p:nvSpPr>
          <p:spPr>
            <a:xfrm>
              <a:off x="2003786" y="1649621"/>
              <a:ext cx="36000" cy="36000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D4E09B5A-FA27-5A4B-AF70-78659B54BAA0}"/>
                </a:ext>
              </a:extLst>
            </p:cNvPr>
            <p:cNvSpPr/>
            <p:nvPr/>
          </p:nvSpPr>
          <p:spPr>
            <a:xfrm>
              <a:off x="2107005" y="1649621"/>
              <a:ext cx="36000" cy="36000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50921D53-2112-1341-B3D4-37750A2FD4EF}"/>
              </a:ext>
            </a:extLst>
          </p:cNvPr>
          <p:cNvSpPr txBox="1"/>
          <p:nvPr/>
        </p:nvSpPr>
        <p:spPr>
          <a:xfrm>
            <a:off x="1919316" y="3138190"/>
            <a:ext cx="411732" cy="38786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/>
            <a:r>
              <a:rPr lang="nl-BE" sz="3000" b="1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@ </a:t>
            </a:r>
            <a:endParaRPr lang="en-US" sz="3000" b="1" err="1">
              <a:solidFill>
                <a:schemeClr val="accent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2ED52B9-7B86-B94A-90E1-6E81F2631384}"/>
              </a:ext>
            </a:extLst>
          </p:cNvPr>
          <p:cNvGrpSpPr>
            <a:grpSpLocks noChangeAspect="1"/>
          </p:cNvGrpSpPr>
          <p:nvPr/>
        </p:nvGrpSpPr>
        <p:grpSpPr>
          <a:xfrm>
            <a:off x="767345" y="1811324"/>
            <a:ext cx="547260" cy="422288"/>
            <a:chOff x="3228543" y="1001128"/>
            <a:chExt cx="1393799" cy="1075510"/>
          </a:xfrm>
          <a:solidFill>
            <a:schemeClr val="accent1"/>
          </a:solidFill>
        </p:grpSpPr>
        <p:sp>
          <p:nvSpPr>
            <p:cNvPr id="13" name="Chevron 12">
              <a:extLst>
                <a:ext uri="{FF2B5EF4-FFF2-40B4-BE49-F238E27FC236}">
                  <a16:creationId xmlns:a16="http://schemas.microsoft.com/office/drawing/2014/main" id="{8DBF2362-5478-8943-8B25-8913EBEE90D9}"/>
                </a:ext>
              </a:extLst>
            </p:cNvPr>
            <p:cNvSpPr/>
            <p:nvPr/>
          </p:nvSpPr>
          <p:spPr bwMode="auto">
            <a:xfrm rot="16200000">
              <a:off x="3890821" y="1746596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Chevron 13">
              <a:extLst>
                <a:ext uri="{FF2B5EF4-FFF2-40B4-BE49-F238E27FC236}">
                  <a16:creationId xmlns:a16="http://schemas.microsoft.com/office/drawing/2014/main" id="{1B543375-5C3A-F94D-9CD0-39D05CDF28D3}"/>
                </a:ext>
              </a:extLst>
            </p:cNvPr>
            <p:cNvSpPr/>
            <p:nvPr/>
          </p:nvSpPr>
          <p:spPr bwMode="auto">
            <a:xfrm rot="16200000">
              <a:off x="3890821" y="1696537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Chevron 14">
              <a:extLst>
                <a:ext uri="{FF2B5EF4-FFF2-40B4-BE49-F238E27FC236}">
                  <a16:creationId xmlns:a16="http://schemas.microsoft.com/office/drawing/2014/main" id="{FD029CC7-0F5D-1146-9E3E-086A81B9C839}"/>
                </a:ext>
              </a:extLst>
            </p:cNvPr>
            <p:cNvSpPr/>
            <p:nvPr/>
          </p:nvSpPr>
          <p:spPr bwMode="auto">
            <a:xfrm rot="16200000">
              <a:off x="3890821" y="1646479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Chevron 15">
              <a:extLst>
                <a:ext uri="{FF2B5EF4-FFF2-40B4-BE49-F238E27FC236}">
                  <a16:creationId xmlns:a16="http://schemas.microsoft.com/office/drawing/2014/main" id="{C5DBD316-731E-E841-B988-DDD77C6084D7}"/>
                </a:ext>
              </a:extLst>
            </p:cNvPr>
            <p:cNvSpPr/>
            <p:nvPr/>
          </p:nvSpPr>
          <p:spPr bwMode="auto">
            <a:xfrm rot="16200000">
              <a:off x="3890821" y="1596415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Chevron 16">
              <a:extLst>
                <a:ext uri="{FF2B5EF4-FFF2-40B4-BE49-F238E27FC236}">
                  <a16:creationId xmlns:a16="http://schemas.microsoft.com/office/drawing/2014/main" id="{08487943-40AC-114A-8AE8-B7314BC68853}"/>
                </a:ext>
              </a:extLst>
            </p:cNvPr>
            <p:cNvSpPr/>
            <p:nvPr/>
          </p:nvSpPr>
          <p:spPr bwMode="auto">
            <a:xfrm rot="16200000">
              <a:off x="3890821" y="1546351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8" name="Chevron 17">
              <a:extLst>
                <a:ext uri="{FF2B5EF4-FFF2-40B4-BE49-F238E27FC236}">
                  <a16:creationId xmlns:a16="http://schemas.microsoft.com/office/drawing/2014/main" id="{29E63052-CA04-304A-ABC0-2D5482D0F79D}"/>
                </a:ext>
              </a:extLst>
            </p:cNvPr>
            <p:cNvSpPr/>
            <p:nvPr/>
          </p:nvSpPr>
          <p:spPr bwMode="auto">
            <a:xfrm rot="16200000">
              <a:off x="3890821" y="1496286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Chevron 18">
              <a:extLst>
                <a:ext uri="{FF2B5EF4-FFF2-40B4-BE49-F238E27FC236}">
                  <a16:creationId xmlns:a16="http://schemas.microsoft.com/office/drawing/2014/main" id="{F5C79D26-70E7-A440-8461-D448BB097BCC}"/>
                </a:ext>
              </a:extLst>
            </p:cNvPr>
            <p:cNvSpPr/>
            <p:nvPr/>
          </p:nvSpPr>
          <p:spPr bwMode="auto">
            <a:xfrm rot="16200000">
              <a:off x="3890821" y="1446222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0" name="Chevron 19">
              <a:extLst>
                <a:ext uri="{FF2B5EF4-FFF2-40B4-BE49-F238E27FC236}">
                  <a16:creationId xmlns:a16="http://schemas.microsoft.com/office/drawing/2014/main" id="{A8654E01-E4F2-CD49-AA77-BF6564383A53}"/>
                </a:ext>
              </a:extLst>
            </p:cNvPr>
            <p:cNvSpPr/>
            <p:nvPr/>
          </p:nvSpPr>
          <p:spPr bwMode="auto">
            <a:xfrm rot="16200000">
              <a:off x="3890821" y="1396164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Chevron 20">
              <a:extLst>
                <a:ext uri="{FF2B5EF4-FFF2-40B4-BE49-F238E27FC236}">
                  <a16:creationId xmlns:a16="http://schemas.microsoft.com/office/drawing/2014/main" id="{9B29812B-9D42-8240-88F8-45DBD9C20241}"/>
                </a:ext>
              </a:extLst>
            </p:cNvPr>
            <p:cNvSpPr/>
            <p:nvPr/>
          </p:nvSpPr>
          <p:spPr bwMode="auto">
            <a:xfrm rot="16200000">
              <a:off x="3890821" y="1346100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" name="Chevron 21">
              <a:extLst>
                <a:ext uri="{FF2B5EF4-FFF2-40B4-BE49-F238E27FC236}">
                  <a16:creationId xmlns:a16="http://schemas.microsoft.com/office/drawing/2014/main" id="{993131FF-B902-304E-8645-FC7534951F4D}"/>
                </a:ext>
              </a:extLst>
            </p:cNvPr>
            <p:cNvSpPr/>
            <p:nvPr/>
          </p:nvSpPr>
          <p:spPr bwMode="auto">
            <a:xfrm rot="16200000">
              <a:off x="3890821" y="1296036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3" name="Chevron 22">
              <a:extLst>
                <a:ext uri="{FF2B5EF4-FFF2-40B4-BE49-F238E27FC236}">
                  <a16:creationId xmlns:a16="http://schemas.microsoft.com/office/drawing/2014/main" id="{F47BF9E4-4C9F-5546-AFE9-701EAF8239C5}"/>
                </a:ext>
              </a:extLst>
            </p:cNvPr>
            <p:cNvSpPr/>
            <p:nvPr/>
          </p:nvSpPr>
          <p:spPr bwMode="auto">
            <a:xfrm rot="16200000">
              <a:off x="3890821" y="1245971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4" name="Chevron 23">
              <a:extLst>
                <a:ext uri="{FF2B5EF4-FFF2-40B4-BE49-F238E27FC236}">
                  <a16:creationId xmlns:a16="http://schemas.microsoft.com/office/drawing/2014/main" id="{439BC2D6-EEFC-0345-A44F-1BD6BBBA89DD}"/>
                </a:ext>
              </a:extLst>
            </p:cNvPr>
            <p:cNvSpPr/>
            <p:nvPr/>
          </p:nvSpPr>
          <p:spPr bwMode="auto">
            <a:xfrm rot="16200000">
              <a:off x="3890821" y="1195913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5" name="Chevron 24">
              <a:extLst>
                <a:ext uri="{FF2B5EF4-FFF2-40B4-BE49-F238E27FC236}">
                  <a16:creationId xmlns:a16="http://schemas.microsoft.com/office/drawing/2014/main" id="{0E63DEE1-EFA5-4447-9A74-D016A560BE7F}"/>
                </a:ext>
              </a:extLst>
            </p:cNvPr>
            <p:cNvSpPr/>
            <p:nvPr/>
          </p:nvSpPr>
          <p:spPr bwMode="auto">
            <a:xfrm rot="16200000">
              <a:off x="3890821" y="1145849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6" name="Chevron 25">
              <a:extLst>
                <a:ext uri="{FF2B5EF4-FFF2-40B4-BE49-F238E27FC236}">
                  <a16:creationId xmlns:a16="http://schemas.microsoft.com/office/drawing/2014/main" id="{DDC1F4EC-5ECF-A442-9DA0-7A997CED2159}"/>
                </a:ext>
              </a:extLst>
            </p:cNvPr>
            <p:cNvSpPr/>
            <p:nvPr/>
          </p:nvSpPr>
          <p:spPr bwMode="auto">
            <a:xfrm rot="16200000">
              <a:off x="3890821" y="1095785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7" name="Chevron 26">
              <a:extLst>
                <a:ext uri="{FF2B5EF4-FFF2-40B4-BE49-F238E27FC236}">
                  <a16:creationId xmlns:a16="http://schemas.microsoft.com/office/drawing/2014/main" id="{5012EBBC-3969-114E-9FD9-4B1EA04111D5}"/>
                </a:ext>
              </a:extLst>
            </p:cNvPr>
            <p:cNvSpPr/>
            <p:nvPr/>
          </p:nvSpPr>
          <p:spPr bwMode="auto">
            <a:xfrm rot="16200000">
              <a:off x="3890821" y="1045720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8" name="Chevron 27">
              <a:extLst>
                <a:ext uri="{FF2B5EF4-FFF2-40B4-BE49-F238E27FC236}">
                  <a16:creationId xmlns:a16="http://schemas.microsoft.com/office/drawing/2014/main" id="{7D94868C-4DDF-F14B-835C-B8D845C49F28}"/>
                </a:ext>
              </a:extLst>
            </p:cNvPr>
            <p:cNvSpPr/>
            <p:nvPr/>
          </p:nvSpPr>
          <p:spPr bwMode="auto">
            <a:xfrm rot="16200000">
              <a:off x="3890821" y="995656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9" name="Chevron 28">
              <a:extLst>
                <a:ext uri="{FF2B5EF4-FFF2-40B4-BE49-F238E27FC236}">
                  <a16:creationId xmlns:a16="http://schemas.microsoft.com/office/drawing/2014/main" id="{0B7E5B51-3C09-9141-AAA2-4AD2DD206FEA}"/>
                </a:ext>
              </a:extLst>
            </p:cNvPr>
            <p:cNvSpPr/>
            <p:nvPr/>
          </p:nvSpPr>
          <p:spPr bwMode="auto">
            <a:xfrm rot="16200000">
              <a:off x="3890821" y="991382"/>
              <a:ext cx="72002" cy="324000"/>
            </a:xfrm>
            <a:prstGeom prst="chevron">
              <a:avLst>
                <a:gd name="adj" fmla="val 42063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0" name="Chevron 29">
              <a:extLst>
                <a:ext uri="{FF2B5EF4-FFF2-40B4-BE49-F238E27FC236}">
                  <a16:creationId xmlns:a16="http://schemas.microsoft.com/office/drawing/2014/main" id="{E982B776-1B21-EF4E-A03D-E0E0BE5C946C}"/>
                </a:ext>
              </a:extLst>
            </p:cNvPr>
            <p:cNvSpPr/>
            <p:nvPr/>
          </p:nvSpPr>
          <p:spPr bwMode="auto">
            <a:xfrm rot="16200000">
              <a:off x="3890821" y="934041"/>
              <a:ext cx="72002" cy="324000"/>
            </a:xfrm>
            <a:prstGeom prst="chevron">
              <a:avLst>
                <a:gd name="adj" fmla="val 42063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1" name="Chevron 30">
              <a:extLst>
                <a:ext uri="{FF2B5EF4-FFF2-40B4-BE49-F238E27FC236}">
                  <a16:creationId xmlns:a16="http://schemas.microsoft.com/office/drawing/2014/main" id="{F7492729-7044-0947-B00B-B950E4075D4B}"/>
                </a:ext>
              </a:extLst>
            </p:cNvPr>
            <p:cNvSpPr/>
            <p:nvPr/>
          </p:nvSpPr>
          <p:spPr bwMode="auto">
            <a:xfrm rot="16200000">
              <a:off x="3890821" y="875129"/>
              <a:ext cx="72002" cy="324000"/>
            </a:xfrm>
            <a:prstGeom prst="chevron">
              <a:avLst>
                <a:gd name="adj" fmla="val 42063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2" name="Chevron 31">
              <a:extLst>
                <a:ext uri="{FF2B5EF4-FFF2-40B4-BE49-F238E27FC236}">
                  <a16:creationId xmlns:a16="http://schemas.microsoft.com/office/drawing/2014/main" id="{8308C08B-A31C-5A4A-A588-6DE955CB7FD3}"/>
                </a:ext>
              </a:extLst>
            </p:cNvPr>
            <p:cNvSpPr/>
            <p:nvPr/>
          </p:nvSpPr>
          <p:spPr bwMode="auto">
            <a:xfrm rot="16200000">
              <a:off x="4368738" y="1746601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3" name="Chevron 32">
              <a:extLst>
                <a:ext uri="{FF2B5EF4-FFF2-40B4-BE49-F238E27FC236}">
                  <a16:creationId xmlns:a16="http://schemas.microsoft.com/office/drawing/2014/main" id="{EFA3F5C6-4CC3-FD4E-9CAA-4609C5227053}"/>
                </a:ext>
              </a:extLst>
            </p:cNvPr>
            <p:cNvSpPr/>
            <p:nvPr/>
          </p:nvSpPr>
          <p:spPr bwMode="auto">
            <a:xfrm rot="16200000">
              <a:off x="4368738" y="1696542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4" name="Chevron 33">
              <a:extLst>
                <a:ext uri="{FF2B5EF4-FFF2-40B4-BE49-F238E27FC236}">
                  <a16:creationId xmlns:a16="http://schemas.microsoft.com/office/drawing/2014/main" id="{E2F5D69A-2451-E743-91F4-35AFD5054D95}"/>
                </a:ext>
              </a:extLst>
            </p:cNvPr>
            <p:cNvSpPr/>
            <p:nvPr/>
          </p:nvSpPr>
          <p:spPr bwMode="auto">
            <a:xfrm rot="16200000">
              <a:off x="4368738" y="1646484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5" name="Chevron 34">
              <a:extLst>
                <a:ext uri="{FF2B5EF4-FFF2-40B4-BE49-F238E27FC236}">
                  <a16:creationId xmlns:a16="http://schemas.microsoft.com/office/drawing/2014/main" id="{B5688656-87EA-1A4F-BBC4-AB93513BE331}"/>
                </a:ext>
              </a:extLst>
            </p:cNvPr>
            <p:cNvSpPr/>
            <p:nvPr/>
          </p:nvSpPr>
          <p:spPr bwMode="auto">
            <a:xfrm rot="16200000">
              <a:off x="4368738" y="1596419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6" name="Chevron 35">
              <a:extLst>
                <a:ext uri="{FF2B5EF4-FFF2-40B4-BE49-F238E27FC236}">
                  <a16:creationId xmlns:a16="http://schemas.microsoft.com/office/drawing/2014/main" id="{792FD483-CBD3-FD47-B6A7-ECB7D2D4D285}"/>
                </a:ext>
              </a:extLst>
            </p:cNvPr>
            <p:cNvSpPr/>
            <p:nvPr/>
          </p:nvSpPr>
          <p:spPr bwMode="auto">
            <a:xfrm rot="16200000">
              <a:off x="4368738" y="1546355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7" name="Chevron 36">
              <a:extLst>
                <a:ext uri="{FF2B5EF4-FFF2-40B4-BE49-F238E27FC236}">
                  <a16:creationId xmlns:a16="http://schemas.microsoft.com/office/drawing/2014/main" id="{6D75D642-169D-744A-81CF-C6FCBA364696}"/>
                </a:ext>
              </a:extLst>
            </p:cNvPr>
            <p:cNvSpPr/>
            <p:nvPr/>
          </p:nvSpPr>
          <p:spPr bwMode="auto">
            <a:xfrm rot="16200000">
              <a:off x="4368738" y="1496291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8" name="Chevron 37">
              <a:extLst>
                <a:ext uri="{FF2B5EF4-FFF2-40B4-BE49-F238E27FC236}">
                  <a16:creationId xmlns:a16="http://schemas.microsoft.com/office/drawing/2014/main" id="{1FD0ACCC-028A-F043-B785-2F104E2AD3CC}"/>
                </a:ext>
              </a:extLst>
            </p:cNvPr>
            <p:cNvSpPr/>
            <p:nvPr/>
          </p:nvSpPr>
          <p:spPr bwMode="auto">
            <a:xfrm rot="16200000">
              <a:off x="4368738" y="1446227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9" name="Chevron 38">
              <a:extLst>
                <a:ext uri="{FF2B5EF4-FFF2-40B4-BE49-F238E27FC236}">
                  <a16:creationId xmlns:a16="http://schemas.microsoft.com/office/drawing/2014/main" id="{270E4ADE-3417-6144-8A91-6AA2F0790192}"/>
                </a:ext>
              </a:extLst>
            </p:cNvPr>
            <p:cNvSpPr/>
            <p:nvPr/>
          </p:nvSpPr>
          <p:spPr bwMode="auto">
            <a:xfrm rot="16200000">
              <a:off x="4368738" y="1396168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0" name="Chevron 39">
              <a:extLst>
                <a:ext uri="{FF2B5EF4-FFF2-40B4-BE49-F238E27FC236}">
                  <a16:creationId xmlns:a16="http://schemas.microsoft.com/office/drawing/2014/main" id="{1A2EB96F-E02E-4E42-AE33-4A8AAC0746FC}"/>
                </a:ext>
              </a:extLst>
            </p:cNvPr>
            <p:cNvSpPr/>
            <p:nvPr/>
          </p:nvSpPr>
          <p:spPr bwMode="auto">
            <a:xfrm rot="16200000">
              <a:off x="4368738" y="1346104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1" name="Chevron 40">
              <a:extLst>
                <a:ext uri="{FF2B5EF4-FFF2-40B4-BE49-F238E27FC236}">
                  <a16:creationId xmlns:a16="http://schemas.microsoft.com/office/drawing/2014/main" id="{6F3FCDFA-9259-E846-8353-CD1095A900F4}"/>
                </a:ext>
              </a:extLst>
            </p:cNvPr>
            <p:cNvSpPr/>
            <p:nvPr/>
          </p:nvSpPr>
          <p:spPr bwMode="auto">
            <a:xfrm rot="16200000">
              <a:off x="4368738" y="1296040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2" name="Chevron 41">
              <a:extLst>
                <a:ext uri="{FF2B5EF4-FFF2-40B4-BE49-F238E27FC236}">
                  <a16:creationId xmlns:a16="http://schemas.microsoft.com/office/drawing/2014/main" id="{D994F4BD-BB6A-0440-818D-C41316DB3FFF}"/>
                </a:ext>
              </a:extLst>
            </p:cNvPr>
            <p:cNvSpPr/>
            <p:nvPr/>
          </p:nvSpPr>
          <p:spPr bwMode="auto">
            <a:xfrm rot="16200000">
              <a:off x="4368738" y="1245967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3" name="Chevron 42">
              <a:extLst>
                <a:ext uri="{FF2B5EF4-FFF2-40B4-BE49-F238E27FC236}">
                  <a16:creationId xmlns:a16="http://schemas.microsoft.com/office/drawing/2014/main" id="{6E1B91CF-FAC6-4F42-A997-6F9BF3BF4454}"/>
                </a:ext>
              </a:extLst>
            </p:cNvPr>
            <p:cNvSpPr/>
            <p:nvPr/>
          </p:nvSpPr>
          <p:spPr bwMode="auto">
            <a:xfrm rot="16200000">
              <a:off x="3412355" y="1746591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4" name="Chevron 43">
              <a:extLst>
                <a:ext uri="{FF2B5EF4-FFF2-40B4-BE49-F238E27FC236}">
                  <a16:creationId xmlns:a16="http://schemas.microsoft.com/office/drawing/2014/main" id="{DE6779F6-7A54-014C-9806-F7ABF6C28954}"/>
                </a:ext>
              </a:extLst>
            </p:cNvPr>
            <p:cNvSpPr/>
            <p:nvPr/>
          </p:nvSpPr>
          <p:spPr bwMode="auto">
            <a:xfrm rot="16200000">
              <a:off x="3412355" y="1696532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5" name="Chevron 44">
              <a:extLst>
                <a:ext uri="{FF2B5EF4-FFF2-40B4-BE49-F238E27FC236}">
                  <a16:creationId xmlns:a16="http://schemas.microsoft.com/office/drawing/2014/main" id="{279482EF-A2A0-544B-91E4-C176C96D9EB5}"/>
                </a:ext>
              </a:extLst>
            </p:cNvPr>
            <p:cNvSpPr/>
            <p:nvPr/>
          </p:nvSpPr>
          <p:spPr bwMode="auto">
            <a:xfrm rot="16200000">
              <a:off x="3412355" y="1646474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6" name="Chevron 45">
              <a:extLst>
                <a:ext uri="{FF2B5EF4-FFF2-40B4-BE49-F238E27FC236}">
                  <a16:creationId xmlns:a16="http://schemas.microsoft.com/office/drawing/2014/main" id="{060E2E4B-B9CB-1642-9B99-DD93BA91EAF2}"/>
                </a:ext>
              </a:extLst>
            </p:cNvPr>
            <p:cNvSpPr/>
            <p:nvPr/>
          </p:nvSpPr>
          <p:spPr bwMode="auto">
            <a:xfrm rot="16200000">
              <a:off x="3412355" y="1596410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7" name="Chevron 46">
              <a:extLst>
                <a:ext uri="{FF2B5EF4-FFF2-40B4-BE49-F238E27FC236}">
                  <a16:creationId xmlns:a16="http://schemas.microsoft.com/office/drawing/2014/main" id="{34B86F06-639A-6548-94AA-323109CEC8AB}"/>
                </a:ext>
              </a:extLst>
            </p:cNvPr>
            <p:cNvSpPr/>
            <p:nvPr/>
          </p:nvSpPr>
          <p:spPr bwMode="auto">
            <a:xfrm rot="16200000">
              <a:off x="3412355" y="1546346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8" name="Chevron 47">
              <a:extLst>
                <a:ext uri="{FF2B5EF4-FFF2-40B4-BE49-F238E27FC236}">
                  <a16:creationId xmlns:a16="http://schemas.microsoft.com/office/drawing/2014/main" id="{5DA3C38D-15D2-B643-B44E-8469B720B893}"/>
                </a:ext>
              </a:extLst>
            </p:cNvPr>
            <p:cNvSpPr/>
            <p:nvPr/>
          </p:nvSpPr>
          <p:spPr bwMode="auto">
            <a:xfrm rot="16200000">
              <a:off x="3412355" y="1496282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9" name="Chevron 48">
              <a:extLst>
                <a:ext uri="{FF2B5EF4-FFF2-40B4-BE49-F238E27FC236}">
                  <a16:creationId xmlns:a16="http://schemas.microsoft.com/office/drawing/2014/main" id="{23F478A6-925A-9349-BF0C-C7CF25954C27}"/>
                </a:ext>
              </a:extLst>
            </p:cNvPr>
            <p:cNvSpPr/>
            <p:nvPr/>
          </p:nvSpPr>
          <p:spPr bwMode="auto">
            <a:xfrm rot="16200000">
              <a:off x="3412355" y="1446218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0" name="Chevron 49">
              <a:extLst>
                <a:ext uri="{FF2B5EF4-FFF2-40B4-BE49-F238E27FC236}">
                  <a16:creationId xmlns:a16="http://schemas.microsoft.com/office/drawing/2014/main" id="{D08FFDF4-8D3B-4545-9D58-9214CCA7F9A4}"/>
                </a:ext>
              </a:extLst>
            </p:cNvPr>
            <p:cNvSpPr/>
            <p:nvPr/>
          </p:nvSpPr>
          <p:spPr bwMode="auto">
            <a:xfrm rot="16200000">
              <a:off x="3412354" y="1396167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77812DB0-9EED-B642-9F81-A02E6532571D}"/>
                </a:ext>
              </a:extLst>
            </p:cNvPr>
            <p:cNvSpPr/>
            <p:nvPr/>
          </p:nvSpPr>
          <p:spPr bwMode="auto">
            <a:xfrm>
              <a:off x="3232354" y="2030918"/>
              <a:ext cx="1388382" cy="4572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2" name="Isosceles Triangle 189">
              <a:extLst>
                <a:ext uri="{FF2B5EF4-FFF2-40B4-BE49-F238E27FC236}">
                  <a16:creationId xmlns:a16="http://schemas.microsoft.com/office/drawing/2014/main" id="{2B8CBAAA-A77B-114D-8A3C-BAC9CB11E6B3}"/>
                </a:ext>
              </a:extLst>
            </p:cNvPr>
            <p:cNvSpPr/>
            <p:nvPr/>
          </p:nvSpPr>
          <p:spPr bwMode="auto">
            <a:xfrm>
              <a:off x="3228543" y="1980078"/>
              <a:ext cx="441016" cy="45720"/>
            </a:xfrm>
            <a:prstGeom prst="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3" name="Isosceles Triangle 190">
              <a:extLst>
                <a:ext uri="{FF2B5EF4-FFF2-40B4-BE49-F238E27FC236}">
                  <a16:creationId xmlns:a16="http://schemas.microsoft.com/office/drawing/2014/main" id="{20D5929C-6FE5-3E46-95FC-24906867B1D4}"/>
                </a:ext>
              </a:extLst>
            </p:cNvPr>
            <p:cNvSpPr/>
            <p:nvPr/>
          </p:nvSpPr>
          <p:spPr bwMode="auto">
            <a:xfrm>
              <a:off x="3705026" y="1980083"/>
              <a:ext cx="441016" cy="45720"/>
            </a:xfrm>
            <a:prstGeom prst="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4" name="Isosceles Triangle 191">
              <a:extLst>
                <a:ext uri="{FF2B5EF4-FFF2-40B4-BE49-F238E27FC236}">
                  <a16:creationId xmlns:a16="http://schemas.microsoft.com/office/drawing/2014/main" id="{1A99CDC0-70B6-3E47-916A-1F0C5A309933}"/>
                </a:ext>
              </a:extLst>
            </p:cNvPr>
            <p:cNvSpPr/>
            <p:nvPr/>
          </p:nvSpPr>
          <p:spPr bwMode="auto">
            <a:xfrm>
              <a:off x="4181326" y="1980067"/>
              <a:ext cx="441016" cy="45720"/>
            </a:xfrm>
            <a:prstGeom prst="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BEAE9B7B-3020-4E4B-90F5-0CE415BD07D9}"/>
              </a:ext>
            </a:extLst>
          </p:cNvPr>
          <p:cNvGrpSpPr/>
          <p:nvPr/>
        </p:nvGrpSpPr>
        <p:grpSpPr>
          <a:xfrm>
            <a:off x="1645878" y="1808761"/>
            <a:ext cx="877518" cy="518008"/>
            <a:chOff x="2623301" y="618194"/>
            <a:chExt cx="1168735" cy="714155"/>
          </a:xfrm>
          <a:solidFill>
            <a:schemeClr val="accent1"/>
          </a:solidFill>
        </p:grpSpPr>
        <p:sp>
          <p:nvSpPr>
            <p:cNvPr id="56" name="Freeform 55">
              <a:extLst>
                <a:ext uri="{FF2B5EF4-FFF2-40B4-BE49-F238E27FC236}">
                  <a16:creationId xmlns:a16="http://schemas.microsoft.com/office/drawing/2014/main" id="{5CDE8A36-18F0-7446-A606-4224528E01FA}"/>
                </a:ext>
              </a:extLst>
            </p:cNvPr>
            <p:cNvSpPr/>
            <p:nvPr/>
          </p:nvSpPr>
          <p:spPr>
            <a:xfrm>
              <a:off x="2623301" y="618194"/>
              <a:ext cx="684000" cy="587043"/>
            </a:xfrm>
            <a:custGeom>
              <a:avLst/>
              <a:gdLst>
                <a:gd name="connsiteX0" fmla="*/ 284797 w 684000"/>
                <a:gd name="connsiteY0" fmla="*/ 401994 h 587043"/>
                <a:gd name="connsiteX1" fmla="*/ 284797 w 684000"/>
                <a:gd name="connsiteY1" fmla="*/ 554201 h 587043"/>
                <a:gd name="connsiteX2" fmla="*/ 409656 w 684000"/>
                <a:gd name="connsiteY2" fmla="*/ 554201 h 587043"/>
                <a:gd name="connsiteX3" fmla="*/ 409656 w 684000"/>
                <a:gd name="connsiteY3" fmla="*/ 401994 h 587043"/>
                <a:gd name="connsiteX4" fmla="*/ 88736 w 684000"/>
                <a:gd name="connsiteY4" fmla="*/ 387901 h 587043"/>
                <a:gd name="connsiteX5" fmla="*/ 88736 w 684000"/>
                <a:gd name="connsiteY5" fmla="*/ 459901 h 587043"/>
                <a:gd name="connsiteX6" fmla="*/ 160736 w 684000"/>
                <a:gd name="connsiteY6" fmla="*/ 459901 h 587043"/>
                <a:gd name="connsiteX7" fmla="*/ 160736 w 684000"/>
                <a:gd name="connsiteY7" fmla="*/ 387901 h 587043"/>
                <a:gd name="connsiteX8" fmla="*/ 530459 w 684000"/>
                <a:gd name="connsiteY8" fmla="*/ 379503 h 587043"/>
                <a:gd name="connsiteX9" fmla="*/ 530459 w 684000"/>
                <a:gd name="connsiteY9" fmla="*/ 451503 h 587043"/>
                <a:gd name="connsiteX10" fmla="*/ 602459 w 684000"/>
                <a:gd name="connsiteY10" fmla="*/ 451503 h 587043"/>
                <a:gd name="connsiteX11" fmla="*/ 602459 w 684000"/>
                <a:gd name="connsiteY11" fmla="*/ 379503 h 587043"/>
                <a:gd name="connsiteX12" fmla="*/ 377068 w 684000"/>
                <a:gd name="connsiteY12" fmla="*/ 308286 h 587043"/>
                <a:gd name="connsiteX13" fmla="*/ 377068 w 684000"/>
                <a:gd name="connsiteY13" fmla="*/ 380286 h 587043"/>
                <a:gd name="connsiteX14" fmla="*/ 449068 w 684000"/>
                <a:gd name="connsiteY14" fmla="*/ 380286 h 587043"/>
                <a:gd name="connsiteX15" fmla="*/ 449068 w 684000"/>
                <a:gd name="connsiteY15" fmla="*/ 308286 h 587043"/>
                <a:gd name="connsiteX16" fmla="*/ 241136 w 684000"/>
                <a:gd name="connsiteY16" fmla="*/ 308286 h 587043"/>
                <a:gd name="connsiteX17" fmla="*/ 241136 w 684000"/>
                <a:gd name="connsiteY17" fmla="*/ 380286 h 587043"/>
                <a:gd name="connsiteX18" fmla="*/ 313136 w 684000"/>
                <a:gd name="connsiteY18" fmla="*/ 380286 h 587043"/>
                <a:gd name="connsiteX19" fmla="*/ 313136 w 684000"/>
                <a:gd name="connsiteY19" fmla="*/ 308286 h 587043"/>
                <a:gd name="connsiteX20" fmla="*/ 88736 w 684000"/>
                <a:gd name="connsiteY20" fmla="*/ 272286 h 587043"/>
                <a:gd name="connsiteX21" fmla="*/ 88736 w 684000"/>
                <a:gd name="connsiteY21" fmla="*/ 344286 h 587043"/>
                <a:gd name="connsiteX22" fmla="*/ 160736 w 684000"/>
                <a:gd name="connsiteY22" fmla="*/ 344286 h 587043"/>
                <a:gd name="connsiteX23" fmla="*/ 160736 w 684000"/>
                <a:gd name="connsiteY23" fmla="*/ 272286 h 587043"/>
                <a:gd name="connsiteX24" fmla="*/ 530459 w 684000"/>
                <a:gd name="connsiteY24" fmla="*/ 263888 h 587043"/>
                <a:gd name="connsiteX25" fmla="*/ 530459 w 684000"/>
                <a:gd name="connsiteY25" fmla="*/ 335888 h 587043"/>
                <a:gd name="connsiteX26" fmla="*/ 602459 w 684000"/>
                <a:gd name="connsiteY26" fmla="*/ 335888 h 587043"/>
                <a:gd name="connsiteX27" fmla="*/ 602459 w 684000"/>
                <a:gd name="connsiteY27" fmla="*/ 263888 h 587043"/>
                <a:gd name="connsiteX28" fmla="*/ 377068 w 684000"/>
                <a:gd name="connsiteY28" fmla="*/ 192671 h 587043"/>
                <a:gd name="connsiteX29" fmla="*/ 377068 w 684000"/>
                <a:gd name="connsiteY29" fmla="*/ 264671 h 587043"/>
                <a:gd name="connsiteX30" fmla="*/ 449068 w 684000"/>
                <a:gd name="connsiteY30" fmla="*/ 264671 h 587043"/>
                <a:gd name="connsiteX31" fmla="*/ 449068 w 684000"/>
                <a:gd name="connsiteY31" fmla="*/ 192671 h 587043"/>
                <a:gd name="connsiteX32" fmla="*/ 241136 w 684000"/>
                <a:gd name="connsiteY32" fmla="*/ 192671 h 587043"/>
                <a:gd name="connsiteX33" fmla="*/ 241136 w 684000"/>
                <a:gd name="connsiteY33" fmla="*/ 264671 h 587043"/>
                <a:gd name="connsiteX34" fmla="*/ 313136 w 684000"/>
                <a:gd name="connsiteY34" fmla="*/ 264671 h 587043"/>
                <a:gd name="connsiteX35" fmla="*/ 313136 w 684000"/>
                <a:gd name="connsiteY35" fmla="*/ 192671 h 587043"/>
                <a:gd name="connsiteX36" fmla="*/ 88736 w 684000"/>
                <a:gd name="connsiteY36" fmla="*/ 154538 h 587043"/>
                <a:gd name="connsiteX37" fmla="*/ 88736 w 684000"/>
                <a:gd name="connsiteY37" fmla="*/ 226538 h 587043"/>
                <a:gd name="connsiteX38" fmla="*/ 160736 w 684000"/>
                <a:gd name="connsiteY38" fmla="*/ 226538 h 587043"/>
                <a:gd name="connsiteX39" fmla="*/ 160736 w 684000"/>
                <a:gd name="connsiteY39" fmla="*/ 154538 h 587043"/>
                <a:gd name="connsiteX40" fmla="*/ 530459 w 684000"/>
                <a:gd name="connsiteY40" fmla="*/ 146140 h 587043"/>
                <a:gd name="connsiteX41" fmla="*/ 530459 w 684000"/>
                <a:gd name="connsiteY41" fmla="*/ 218140 h 587043"/>
                <a:gd name="connsiteX42" fmla="*/ 602459 w 684000"/>
                <a:gd name="connsiteY42" fmla="*/ 218140 h 587043"/>
                <a:gd name="connsiteX43" fmla="*/ 602459 w 684000"/>
                <a:gd name="connsiteY43" fmla="*/ 146140 h 587043"/>
                <a:gd name="connsiteX44" fmla="*/ 377068 w 684000"/>
                <a:gd name="connsiteY44" fmla="*/ 74923 h 587043"/>
                <a:gd name="connsiteX45" fmla="*/ 377068 w 684000"/>
                <a:gd name="connsiteY45" fmla="*/ 146923 h 587043"/>
                <a:gd name="connsiteX46" fmla="*/ 449068 w 684000"/>
                <a:gd name="connsiteY46" fmla="*/ 146923 h 587043"/>
                <a:gd name="connsiteX47" fmla="*/ 449068 w 684000"/>
                <a:gd name="connsiteY47" fmla="*/ 74923 h 587043"/>
                <a:gd name="connsiteX48" fmla="*/ 241136 w 684000"/>
                <a:gd name="connsiteY48" fmla="*/ 74923 h 587043"/>
                <a:gd name="connsiteX49" fmla="*/ 241136 w 684000"/>
                <a:gd name="connsiteY49" fmla="*/ 146923 h 587043"/>
                <a:gd name="connsiteX50" fmla="*/ 313136 w 684000"/>
                <a:gd name="connsiteY50" fmla="*/ 146923 h 587043"/>
                <a:gd name="connsiteX51" fmla="*/ 313136 w 684000"/>
                <a:gd name="connsiteY51" fmla="*/ 74923 h 587043"/>
                <a:gd name="connsiteX52" fmla="*/ 233440 w 684000"/>
                <a:gd name="connsiteY52" fmla="*/ 0 h 587043"/>
                <a:gd name="connsiteX53" fmla="*/ 458554 w 684000"/>
                <a:gd name="connsiteY53" fmla="*/ 0 h 587043"/>
                <a:gd name="connsiteX54" fmla="*/ 486947 w 684000"/>
                <a:gd name="connsiteY54" fmla="*/ 28393 h 587043"/>
                <a:gd name="connsiteX55" fmla="*/ 486947 w 684000"/>
                <a:gd name="connsiteY55" fmla="*/ 92454 h 587043"/>
                <a:gd name="connsiteX56" fmla="*/ 613061 w 684000"/>
                <a:gd name="connsiteY56" fmla="*/ 92454 h 587043"/>
                <a:gd name="connsiteX57" fmla="*/ 662231 w 684000"/>
                <a:gd name="connsiteY57" fmla="*/ 141624 h 587043"/>
                <a:gd name="connsiteX58" fmla="*/ 662231 w 684000"/>
                <a:gd name="connsiteY58" fmla="*/ 531468 h 587043"/>
                <a:gd name="connsiteX59" fmla="*/ 658149 w 684000"/>
                <a:gd name="connsiteY59" fmla="*/ 541324 h 587043"/>
                <a:gd name="connsiteX60" fmla="*/ 662932 w 684000"/>
                <a:gd name="connsiteY60" fmla="*/ 541324 h 587043"/>
                <a:gd name="connsiteX61" fmla="*/ 684000 w 684000"/>
                <a:gd name="connsiteY61" fmla="*/ 562392 h 587043"/>
                <a:gd name="connsiteX62" fmla="*/ 684000 w 684000"/>
                <a:gd name="connsiteY62" fmla="*/ 565975 h 587043"/>
                <a:gd name="connsiteX63" fmla="*/ 662932 w 684000"/>
                <a:gd name="connsiteY63" fmla="*/ 587043 h 587043"/>
                <a:gd name="connsiteX64" fmla="*/ 21068 w 684000"/>
                <a:gd name="connsiteY64" fmla="*/ 587043 h 587043"/>
                <a:gd name="connsiteX65" fmla="*/ 0 w 684000"/>
                <a:gd name="connsiteY65" fmla="*/ 565975 h 587043"/>
                <a:gd name="connsiteX66" fmla="*/ 0 w 684000"/>
                <a:gd name="connsiteY66" fmla="*/ 562392 h 587043"/>
                <a:gd name="connsiteX67" fmla="*/ 21068 w 684000"/>
                <a:gd name="connsiteY67" fmla="*/ 541324 h 587043"/>
                <a:gd name="connsiteX68" fmla="*/ 34494 w 684000"/>
                <a:gd name="connsiteY68" fmla="*/ 541324 h 587043"/>
                <a:gd name="connsiteX69" fmla="*/ 30411 w 684000"/>
                <a:gd name="connsiteY69" fmla="*/ 531468 h 587043"/>
                <a:gd name="connsiteX70" fmla="*/ 30411 w 684000"/>
                <a:gd name="connsiteY70" fmla="*/ 141624 h 587043"/>
                <a:gd name="connsiteX71" fmla="*/ 79581 w 684000"/>
                <a:gd name="connsiteY71" fmla="*/ 92454 h 587043"/>
                <a:gd name="connsiteX72" fmla="*/ 205047 w 684000"/>
                <a:gd name="connsiteY72" fmla="*/ 92454 h 587043"/>
                <a:gd name="connsiteX73" fmla="*/ 205047 w 684000"/>
                <a:gd name="connsiteY73" fmla="*/ 28393 h 587043"/>
                <a:gd name="connsiteX74" fmla="*/ 233440 w 684000"/>
                <a:gd name="connsiteY74" fmla="*/ 0 h 587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684000" h="587043">
                  <a:moveTo>
                    <a:pt x="284797" y="401994"/>
                  </a:moveTo>
                  <a:lnTo>
                    <a:pt x="284797" y="554201"/>
                  </a:lnTo>
                  <a:lnTo>
                    <a:pt x="409656" y="554201"/>
                  </a:lnTo>
                  <a:lnTo>
                    <a:pt x="409656" y="401994"/>
                  </a:lnTo>
                  <a:close/>
                  <a:moveTo>
                    <a:pt x="88736" y="387901"/>
                  </a:moveTo>
                  <a:lnTo>
                    <a:pt x="88736" y="459901"/>
                  </a:lnTo>
                  <a:lnTo>
                    <a:pt x="160736" y="459901"/>
                  </a:lnTo>
                  <a:lnTo>
                    <a:pt x="160736" y="387901"/>
                  </a:lnTo>
                  <a:close/>
                  <a:moveTo>
                    <a:pt x="530459" y="379503"/>
                  </a:moveTo>
                  <a:lnTo>
                    <a:pt x="530459" y="451503"/>
                  </a:lnTo>
                  <a:lnTo>
                    <a:pt x="602459" y="451503"/>
                  </a:lnTo>
                  <a:lnTo>
                    <a:pt x="602459" y="379503"/>
                  </a:lnTo>
                  <a:close/>
                  <a:moveTo>
                    <a:pt x="377068" y="308286"/>
                  </a:moveTo>
                  <a:lnTo>
                    <a:pt x="377068" y="380286"/>
                  </a:lnTo>
                  <a:lnTo>
                    <a:pt x="449068" y="380286"/>
                  </a:lnTo>
                  <a:lnTo>
                    <a:pt x="449068" y="308286"/>
                  </a:lnTo>
                  <a:close/>
                  <a:moveTo>
                    <a:pt x="241136" y="308286"/>
                  </a:moveTo>
                  <a:lnTo>
                    <a:pt x="241136" y="380286"/>
                  </a:lnTo>
                  <a:lnTo>
                    <a:pt x="313136" y="380286"/>
                  </a:lnTo>
                  <a:lnTo>
                    <a:pt x="313136" y="308286"/>
                  </a:lnTo>
                  <a:close/>
                  <a:moveTo>
                    <a:pt x="88736" y="272286"/>
                  </a:moveTo>
                  <a:lnTo>
                    <a:pt x="88736" y="344286"/>
                  </a:lnTo>
                  <a:lnTo>
                    <a:pt x="160736" y="344286"/>
                  </a:lnTo>
                  <a:lnTo>
                    <a:pt x="160736" y="272286"/>
                  </a:lnTo>
                  <a:close/>
                  <a:moveTo>
                    <a:pt x="530459" y="263888"/>
                  </a:moveTo>
                  <a:lnTo>
                    <a:pt x="530459" y="335888"/>
                  </a:lnTo>
                  <a:lnTo>
                    <a:pt x="602459" y="335888"/>
                  </a:lnTo>
                  <a:lnTo>
                    <a:pt x="602459" y="263888"/>
                  </a:lnTo>
                  <a:close/>
                  <a:moveTo>
                    <a:pt x="377068" y="192671"/>
                  </a:moveTo>
                  <a:lnTo>
                    <a:pt x="377068" y="264671"/>
                  </a:lnTo>
                  <a:lnTo>
                    <a:pt x="449068" y="264671"/>
                  </a:lnTo>
                  <a:lnTo>
                    <a:pt x="449068" y="192671"/>
                  </a:lnTo>
                  <a:close/>
                  <a:moveTo>
                    <a:pt x="241136" y="192671"/>
                  </a:moveTo>
                  <a:lnTo>
                    <a:pt x="241136" y="264671"/>
                  </a:lnTo>
                  <a:lnTo>
                    <a:pt x="313136" y="264671"/>
                  </a:lnTo>
                  <a:lnTo>
                    <a:pt x="313136" y="192671"/>
                  </a:lnTo>
                  <a:close/>
                  <a:moveTo>
                    <a:pt x="88736" y="154538"/>
                  </a:moveTo>
                  <a:lnTo>
                    <a:pt x="88736" y="226538"/>
                  </a:lnTo>
                  <a:lnTo>
                    <a:pt x="160736" y="226538"/>
                  </a:lnTo>
                  <a:lnTo>
                    <a:pt x="160736" y="154538"/>
                  </a:lnTo>
                  <a:close/>
                  <a:moveTo>
                    <a:pt x="530459" y="146140"/>
                  </a:moveTo>
                  <a:lnTo>
                    <a:pt x="530459" y="218140"/>
                  </a:lnTo>
                  <a:lnTo>
                    <a:pt x="602459" y="218140"/>
                  </a:lnTo>
                  <a:lnTo>
                    <a:pt x="602459" y="146140"/>
                  </a:lnTo>
                  <a:close/>
                  <a:moveTo>
                    <a:pt x="377068" y="74923"/>
                  </a:moveTo>
                  <a:lnTo>
                    <a:pt x="377068" y="146923"/>
                  </a:lnTo>
                  <a:lnTo>
                    <a:pt x="449068" y="146923"/>
                  </a:lnTo>
                  <a:lnTo>
                    <a:pt x="449068" y="74923"/>
                  </a:lnTo>
                  <a:close/>
                  <a:moveTo>
                    <a:pt x="241136" y="74923"/>
                  </a:moveTo>
                  <a:lnTo>
                    <a:pt x="241136" y="146923"/>
                  </a:lnTo>
                  <a:lnTo>
                    <a:pt x="313136" y="146923"/>
                  </a:lnTo>
                  <a:lnTo>
                    <a:pt x="313136" y="74923"/>
                  </a:lnTo>
                  <a:close/>
                  <a:moveTo>
                    <a:pt x="233440" y="0"/>
                  </a:moveTo>
                  <a:lnTo>
                    <a:pt x="458554" y="0"/>
                  </a:lnTo>
                  <a:cubicBezTo>
                    <a:pt x="474235" y="0"/>
                    <a:pt x="486947" y="12712"/>
                    <a:pt x="486947" y="28393"/>
                  </a:cubicBezTo>
                  <a:lnTo>
                    <a:pt x="486947" y="92454"/>
                  </a:lnTo>
                  <a:lnTo>
                    <a:pt x="613061" y="92454"/>
                  </a:lnTo>
                  <a:cubicBezTo>
                    <a:pt x="640217" y="92454"/>
                    <a:pt x="662231" y="114468"/>
                    <a:pt x="662231" y="141624"/>
                  </a:cubicBezTo>
                  <a:lnTo>
                    <a:pt x="662231" y="531468"/>
                  </a:lnTo>
                  <a:lnTo>
                    <a:pt x="658149" y="541324"/>
                  </a:lnTo>
                  <a:lnTo>
                    <a:pt x="662932" y="541324"/>
                  </a:lnTo>
                  <a:cubicBezTo>
                    <a:pt x="674568" y="541324"/>
                    <a:pt x="684000" y="550756"/>
                    <a:pt x="684000" y="562392"/>
                  </a:cubicBezTo>
                  <a:lnTo>
                    <a:pt x="684000" y="565975"/>
                  </a:lnTo>
                  <a:cubicBezTo>
                    <a:pt x="684000" y="577611"/>
                    <a:pt x="674568" y="587043"/>
                    <a:pt x="662932" y="587043"/>
                  </a:cubicBezTo>
                  <a:lnTo>
                    <a:pt x="21068" y="587043"/>
                  </a:lnTo>
                  <a:cubicBezTo>
                    <a:pt x="9432" y="587043"/>
                    <a:pt x="0" y="577611"/>
                    <a:pt x="0" y="565975"/>
                  </a:cubicBezTo>
                  <a:lnTo>
                    <a:pt x="0" y="562392"/>
                  </a:lnTo>
                  <a:cubicBezTo>
                    <a:pt x="0" y="550756"/>
                    <a:pt x="9432" y="541324"/>
                    <a:pt x="21068" y="541324"/>
                  </a:cubicBezTo>
                  <a:lnTo>
                    <a:pt x="34494" y="541324"/>
                  </a:lnTo>
                  <a:lnTo>
                    <a:pt x="30411" y="531468"/>
                  </a:lnTo>
                  <a:lnTo>
                    <a:pt x="30411" y="141624"/>
                  </a:lnTo>
                  <a:cubicBezTo>
                    <a:pt x="30411" y="114468"/>
                    <a:pt x="52425" y="92454"/>
                    <a:pt x="79581" y="92454"/>
                  </a:cubicBezTo>
                  <a:lnTo>
                    <a:pt x="205047" y="92454"/>
                  </a:lnTo>
                  <a:lnTo>
                    <a:pt x="205047" y="28393"/>
                  </a:lnTo>
                  <a:cubicBezTo>
                    <a:pt x="205047" y="12712"/>
                    <a:pt x="217759" y="0"/>
                    <a:pt x="233440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nl-BE"/>
            </a:p>
          </p:txBody>
        </p:sp>
        <p:sp>
          <p:nvSpPr>
            <p:cNvPr id="57" name="Freeform 56">
              <a:extLst>
                <a:ext uri="{FF2B5EF4-FFF2-40B4-BE49-F238E27FC236}">
                  <a16:creationId xmlns:a16="http://schemas.microsoft.com/office/drawing/2014/main" id="{F35E4858-C0FB-5A4F-814B-5DCC73C85FB9}"/>
                </a:ext>
              </a:extLst>
            </p:cNvPr>
            <p:cNvSpPr/>
            <p:nvPr/>
          </p:nvSpPr>
          <p:spPr>
            <a:xfrm>
              <a:off x="3174945" y="865345"/>
              <a:ext cx="617091" cy="467004"/>
            </a:xfrm>
            <a:custGeom>
              <a:avLst/>
              <a:gdLst>
                <a:gd name="connsiteX0" fmla="*/ 52792 w 617091"/>
                <a:gd name="connsiteY0" fmla="*/ 336736 h 467004"/>
                <a:gd name="connsiteX1" fmla="*/ 52792 w 617091"/>
                <a:gd name="connsiteY1" fmla="*/ 466065 h 467004"/>
                <a:gd name="connsiteX2" fmla="*/ 139074 w 617091"/>
                <a:gd name="connsiteY2" fmla="*/ 466065 h 467004"/>
                <a:gd name="connsiteX3" fmla="*/ 139074 w 617091"/>
                <a:gd name="connsiteY3" fmla="*/ 336736 h 467004"/>
                <a:gd name="connsiteX4" fmla="*/ 466706 w 617091"/>
                <a:gd name="connsiteY4" fmla="*/ 334057 h 467004"/>
                <a:gd name="connsiteX5" fmla="*/ 466706 w 617091"/>
                <a:gd name="connsiteY5" fmla="*/ 406057 h 467004"/>
                <a:gd name="connsiteX6" fmla="*/ 538706 w 617091"/>
                <a:gd name="connsiteY6" fmla="*/ 406057 h 467004"/>
                <a:gd name="connsiteX7" fmla="*/ 538706 w 617091"/>
                <a:gd name="connsiteY7" fmla="*/ 334057 h 467004"/>
                <a:gd name="connsiteX8" fmla="*/ 376189 w 617091"/>
                <a:gd name="connsiteY8" fmla="*/ 334057 h 467004"/>
                <a:gd name="connsiteX9" fmla="*/ 376189 w 617091"/>
                <a:gd name="connsiteY9" fmla="*/ 406057 h 467004"/>
                <a:gd name="connsiteX10" fmla="*/ 448189 w 617091"/>
                <a:gd name="connsiteY10" fmla="*/ 406057 h 467004"/>
                <a:gd name="connsiteX11" fmla="*/ 448189 w 617091"/>
                <a:gd name="connsiteY11" fmla="*/ 334057 h 467004"/>
                <a:gd name="connsiteX12" fmla="*/ 285671 w 617091"/>
                <a:gd name="connsiteY12" fmla="*/ 334057 h 467004"/>
                <a:gd name="connsiteX13" fmla="*/ 285671 w 617091"/>
                <a:gd name="connsiteY13" fmla="*/ 406057 h 467004"/>
                <a:gd name="connsiteX14" fmla="*/ 357671 w 617091"/>
                <a:gd name="connsiteY14" fmla="*/ 406057 h 467004"/>
                <a:gd name="connsiteX15" fmla="*/ 357671 w 617091"/>
                <a:gd name="connsiteY15" fmla="*/ 334057 h 467004"/>
                <a:gd name="connsiteX16" fmla="*/ 195153 w 617091"/>
                <a:gd name="connsiteY16" fmla="*/ 334057 h 467004"/>
                <a:gd name="connsiteX17" fmla="*/ 195153 w 617091"/>
                <a:gd name="connsiteY17" fmla="*/ 406057 h 467004"/>
                <a:gd name="connsiteX18" fmla="*/ 267153 w 617091"/>
                <a:gd name="connsiteY18" fmla="*/ 406057 h 467004"/>
                <a:gd name="connsiteX19" fmla="*/ 267153 w 617091"/>
                <a:gd name="connsiteY19" fmla="*/ 334057 h 467004"/>
                <a:gd name="connsiteX20" fmla="*/ 466706 w 617091"/>
                <a:gd name="connsiteY20" fmla="*/ 244322 h 467004"/>
                <a:gd name="connsiteX21" fmla="*/ 466706 w 617091"/>
                <a:gd name="connsiteY21" fmla="*/ 316322 h 467004"/>
                <a:gd name="connsiteX22" fmla="*/ 538706 w 617091"/>
                <a:gd name="connsiteY22" fmla="*/ 316322 h 467004"/>
                <a:gd name="connsiteX23" fmla="*/ 538706 w 617091"/>
                <a:gd name="connsiteY23" fmla="*/ 244322 h 467004"/>
                <a:gd name="connsiteX24" fmla="*/ 376189 w 617091"/>
                <a:gd name="connsiteY24" fmla="*/ 244322 h 467004"/>
                <a:gd name="connsiteX25" fmla="*/ 376189 w 617091"/>
                <a:gd name="connsiteY25" fmla="*/ 316322 h 467004"/>
                <a:gd name="connsiteX26" fmla="*/ 448189 w 617091"/>
                <a:gd name="connsiteY26" fmla="*/ 316322 h 467004"/>
                <a:gd name="connsiteX27" fmla="*/ 448189 w 617091"/>
                <a:gd name="connsiteY27" fmla="*/ 244322 h 467004"/>
                <a:gd name="connsiteX28" fmla="*/ 285671 w 617091"/>
                <a:gd name="connsiteY28" fmla="*/ 244322 h 467004"/>
                <a:gd name="connsiteX29" fmla="*/ 285671 w 617091"/>
                <a:gd name="connsiteY29" fmla="*/ 316322 h 467004"/>
                <a:gd name="connsiteX30" fmla="*/ 357671 w 617091"/>
                <a:gd name="connsiteY30" fmla="*/ 316322 h 467004"/>
                <a:gd name="connsiteX31" fmla="*/ 357671 w 617091"/>
                <a:gd name="connsiteY31" fmla="*/ 244322 h 467004"/>
                <a:gd name="connsiteX32" fmla="*/ 195153 w 617091"/>
                <a:gd name="connsiteY32" fmla="*/ 244322 h 467004"/>
                <a:gd name="connsiteX33" fmla="*/ 195153 w 617091"/>
                <a:gd name="connsiteY33" fmla="*/ 316322 h 467004"/>
                <a:gd name="connsiteX34" fmla="*/ 267153 w 617091"/>
                <a:gd name="connsiteY34" fmla="*/ 316322 h 467004"/>
                <a:gd name="connsiteX35" fmla="*/ 267153 w 617091"/>
                <a:gd name="connsiteY35" fmla="*/ 244322 h 467004"/>
                <a:gd name="connsiteX36" fmla="*/ 617091 w 617091"/>
                <a:gd name="connsiteY36" fmla="*/ 0 h 467004"/>
                <a:gd name="connsiteX37" fmla="*/ 617091 w 617091"/>
                <a:gd name="connsiteY37" fmla="*/ 169816 h 467004"/>
                <a:gd name="connsiteX38" fmla="*/ 617091 w 617091"/>
                <a:gd name="connsiteY38" fmla="*/ 173627 h 467004"/>
                <a:gd name="connsiteX39" fmla="*/ 617091 w 617091"/>
                <a:gd name="connsiteY39" fmla="*/ 467004 h 467004"/>
                <a:gd name="connsiteX40" fmla="*/ 384 w 617091"/>
                <a:gd name="connsiteY40" fmla="*/ 467004 h 467004"/>
                <a:gd name="connsiteX41" fmla="*/ 384 w 617091"/>
                <a:gd name="connsiteY41" fmla="*/ 173627 h 467004"/>
                <a:gd name="connsiteX42" fmla="*/ 0 w 617091"/>
                <a:gd name="connsiteY42" fmla="*/ 173627 h 467004"/>
                <a:gd name="connsiteX43" fmla="*/ 384 w 617091"/>
                <a:gd name="connsiteY43" fmla="*/ 173519 h 467004"/>
                <a:gd name="connsiteX44" fmla="*/ 384 w 617091"/>
                <a:gd name="connsiteY44" fmla="*/ 169816 h 467004"/>
                <a:gd name="connsiteX45" fmla="*/ 13545 w 617091"/>
                <a:gd name="connsiteY45" fmla="*/ 169816 h 467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617091" h="467004">
                  <a:moveTo>
                    <a:pt x="52792" y="336736"/>
                  </a:moveTo>
                  <a:lnTo>
                    <a:pt x="52792" y="466065"/>
                  </a:lnTo>
                  <a:lnTo>
                    <a:pt x="139074" y="466065"/>
                  </a:lnTo>
                  <a:lnTo>
                    <a:pt x="139074" y="336736"/>
                  </a:lnTo>
                  <a:close/>
                  <a:moveTo>
                    <a:pt x="466706" y="334057"/>
                  </a:moveTo>
                  <a:lnTo>
                    <a:pt x="466706" y="406057"/>
                  </a:lnTo>
                  <a:lnTo>
                    <a:pt x="538706" y="406057"/>
                  </a:lnTo>
                  <a:lnTo>
                    <a:pt x="538706" y="334057"/>
                  </a:lnTo>
                  <a:close/>
                  <a:moveTo>
                    <a:pt x="376189" y="334057"/>
                  </a:moveTo>
                  <a:lnTo>
                    <a:pt x="376189" y="406057"/>
                  </a:lnTo>
                  <a:lnTo>
                    <a:pt x="448189" y="406057"/>
                  </a:lnTo>
                  <a:lnTo>
                    <a:pt x="448189" y="334057"/>
                  </a:lnTo>
                  <a:close/>
                  <a:moveTo>
                    <a:pt x="285671" y="334057"/>
                  </a:moveTo>
                  <a:lnTo>
                    <a:pt x="285671" y="406057"/>
                  </a:lnTo>
                  <a:lnTo>
                    <a:pt x="357671" y="406057"/>
                  </a:lnTo>
                  <a:lnTo>
                    <a:pt x="357671" y="334057"/>
                  </a:lnTo>
                  <a:close/>
                  <a:moveTo>
                    <a:pt x="195153" y="334057"/>
                  </a:moveTo>
                  <a:lnTo>
                    <a:pt x="195153" y="406057"/>
                  </a:lnTo>
                  <a:lnTo>
                    <a:pt x="267153" y="406057"/>
                  </a:lnTo>
                  <a:lnTo>
                    <a:pt x="267153" y="334057"/>
                  </a:lnTo>
                  <a:close/>
                  <a:moveTo>
                    <a:pt x="466706" y="244322"/>
                  </a:moveTo>
                  <a:lnTo>
                    <a:pt x="466706" y="316322"/>
                  </a:lnTo>
                  <a:lnTo>
                    <a:pt x="538706" y="316322"/>
                  </a:lnTo>
                  <a:lnTo>
                    <a:pt x="538706" y="244322"/>
                  </a:lnTo>
                  <a:close/>
                  <a:moveTo>
                    <a:pt x="376189" y="244322"/>
                  </a:moveTo>
                  <a:lnTo>
                    <a:pt x="376189" y="316322"/>
                  </a:lnTo>
                  <a:lnTo>
                    <a:pt x="448189" y="316322"/>
                  </a:lnTo>
                  <a:lnTo>
                    <a:pt x="448189" y="244322"/>
                  </a:lnTo>
                  <a:close/>
                  <a:moveTo>
                    <a:pt x="285671" y="244322"/>
                  </a:moveTo>
                  <a:lnTo>
                    <a:pt x="285671" y="316322"/>
                  </a:lnTo>
                  <a:lnTo>
                    <a:pt x="357671" y="316322"/>
                  </a:lnTo>
                  <a:lnTo>
                    <a:pt x="357671" y="244322"/>
                  </a:lnTo>
                  <a:close/>
                  <a:moveTo>
                    <a:pt x="195153" y="244322"/>
                  </a:moveTo>
                  <a:lnTo>
                    <a:pt x="195153" y="316322"/>
                  </a:lnTo>
                  <a:lnTo>
                    <a:pt x="267153" y="316322"/>
                  </a:lnTo>
                  <a:lnTo>
                    <a:pt x="267153" y="244322"/>
                  </a:lnTo>
                  <a:close/>
                  <a:moveTo>
                    <a:pt x="617091" y="0"/>
                  </a:moveTo>
                  <a:lnTo>
                    <a:pt x="617091" y="169816"/>
                  </a:lnTo>
                  <a:lnTo>
                    <a:pt x="617091" y="173627"/>
                  </a:lnTo>
                  <a:lnTo>
                    <a:pt x="617091" y="467004"/>
                  </a:lnTo>
                  <a:lnTo>
                    <a:pt x="384" y="467004"/>
                  </a:lnTo>
                  <a:lnTo>
                    <a:pt x="384" y="173627"/>
                  </a:lnTo>
                  <a:lnTo>
                    <a:pt x="0" y="173627"/>
                  </a:lnTo>
                  <a:lnTo>
                    <a:pt x="384" y="173519"/>
                  </a:lnTo>
                  <a:lnTo>
                    <a:pt x="384" y="169816"/>
                  </a:lnTo>
                  <a:lnTo>
                    <a:pt x="13545" y="169816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nl-BE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F6A26DC8-1A33-0647-B414-07D66DB4EF23}"/>
              </a:ext>
            </a:extLst>
          </p:cNvPr>
          <p:cNvGrpSpPr/>
          <p:nvPr/>
        </p:nvGrpSpPr>
        <p:grpSpPr>
          <a:xfrm>
            <a:off x="10167468" y="4467370"/>
            <a:ext cx="1228177" cy="334861"/>
            <a:chOff x="7811578" y="1383337"/>
            <a:chExt cx="769750" cy="184654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F003964E-99E6-5A4B-B85B-4BF2B7424CB7}"/>
                </a:ext>
              </a:extLst>
            </p:cNvPr>
            <p:cNvSpPr/>
            <p:nvPr/>
          </p:nvSpPr>
          <p:spPr bwMode="auto">
            <a:xfrm>
              <a:off x="7842169" y="1389353"/>
              <a:ext cx="660439" cy="170925"/>
            </a:xfrm>
            <a:prstGeom prst="rect">
              <a:avLst/>
            </a:prstGeom>
            <a:solidFill>
              <a:schemeClr val="bg1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rtlCol="0" anchor="ctr"/>
            <a:lstStyle/>
            <a:p>
              <a:pPr algn="l"/>
              <a:endParaRPr lang="en-US" sz="1800">
                <a:latin typeface="+mn-lt"/>
              </a:endParaRPr>
            </a:p>
          </p:txBody>
        </p:sp>
        <p:pic>
          <p:nvPicPr>
            <p:cNvPr id="60" name="chart">
              <a:extLst>
                <a:ext uri="{FF2B5EF4-FFF2-40B4-BE49-F238E27FC236}">
                  <a16:creationId xmlns:a16="http://schemas.microsoft.com/office/drawing/2014/main" id="{96A018B8-59FB-B34B-87A9-3FD86C81B6B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811578" y="1383337"/>
              <a:ext cx="769750" cy="184654"/>
            </a:xfrm>
            <a:prstGeom prst="rect">
              <a:avLst/>
            </a:prstGeom>
          </p:spPr>
        </p:pic>
      </p:grpSp>
      <p:pic>
        <p:nvPicPr>
          <p:cNvPr id="61" name="Picture 3474">
            <a:extLst>
              <a:ext uri="{FF2B5EF4-FFF2-40B4-BE49-F238E27FC236}">
                <a16:creationId xmlns:a16="http://schemas.microsoft.com/office/drawing/2014/main" id="{81ABBA28-0D30-F844-AF3A-0E372CBF99A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166537" y="4486281"/>
            <a:ext cx="889443" cy="364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Picture 3477" descr="https://snap.telenet.be/snapbox/GOT/resources/img/rio/rio.png">
            <a:hlinkClick r:id="rId4"/>
            <a:extLst>
              <a:ext uri="{FF2B5EF4-FFF2-40B4-BE49-F238E27FC236}">
                <a16:creationId xmlns:a16="http://schemas.microsoft.com/office/drawing/2014/main" id="{F3C97903-4C86-1040-A3B3-AC739382EA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532397" y="4454453"/>
            <a:ext cx="1272514" cy="382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Rounded Rectangle 84">
            <a:extLst>
              <a:ext uri="{FF2B5EF4-FFF2-40B4-BE49-F238E27FC236}">
                <a16:creationId xmlns:a16="http://schemas.microsoft.com/office/drawing/2014/main" id="{474E6AFC-6C0C-EC49-B4A3-A2C00149C511}"/>
              </a:ext>
            </a:extLst>
          </p:cNvPr>
          <p:cNvSpPr>
            <a:spLocks noChangeAspect="1"/>
          </p:cNvSpPr>
          <p:nvPr/>
        </p:nvSpPr>
        <p:spPr>
          <a:xfrm>
            <a:off x="817878" y="3096080"/>
            <a:ext cx="450654" cy="540182"/>
          </a:xfrm>
          <a:custGeom>
            <a:avLst/>
            <a:gdLst/>
            <a:ahLst/>
            <a:cxnLst/>
            <a:rect l="l" t="t" r="r" b="b"/>
            <a:pathLst>
              <a:path w="468129" h="528763">
                <a:moveTo>
                  <a:pt x="69021" y="227184"/>
                </a:moveTo>
                <a:lnTo>
                  <a:pt x="73839" y="358620"/>
                </a:lnTo>
                <a:lnTo>
                  <a:pt x="3902" y="343835"/>
                </a:lnTo>
                <a:lnTo>
                  <a:pt x="354" y="247050"/>
                </a:lnTo>
                <a:close/>
                <a:moveTo>
                  <a:pt x="398393" y="242062"/>
                </a:moveTo>
                <a:lnTo>
                  <a:pt x="466873" y="262562"/>
                </a:lnTo>
                <a:lnTo>
                  <a:pt x="462430" y="359310"/>
                </a:lnTo>
                <a:lnTo>
                  <a:pt x="442513" y="363328"/>
                </a:lnTo>
                <a:cubicBezTo>
                  <a:pt x="440467" y="434573"/>
                  <a:pt x="395165" y="494974"/>
                  <a:pt x="330564" y="515834"/>
                </a:cubicBezTo>
                <a:lnTo>
                  <a:pt x="330564" y="520530"/>
                </a:lnTo>
                <a:cubicBezTo>
                  <a:pt x="330564" y="525077"/>
                  <a:pt x="326878" y="528763"/>
                  <a:pt x="322331" y="528763"/>
                </a:cubicBezTo>
                <a:lnTo>
                  <a:pt x="234118" y="528763"/>
                </a:lnTo>
                <a:cubicBezTo>
                  <a:pt x="229571" y="528763"/>
                  <a:pt x="225885" y="525077"/>
                  <a:pt x="225885" y="520530"/>
                </a:cubicBezTo>
                <a:lnTo>
                  <a:pt x="225885" y="487599"/>
                </a:lnTo>
                <a:cubicBezTo>
                  <a:pt x="225885" y="483052"/>
                  <a:pt x="229571" y="479366"/>
                  <a:pt x="234118" y="479366"/>
                </a:cubicBezTo>
                <a:lnTo>
                  <a:pt x="322331" y="479366"/>
                </a:lnTo>
                <a:lnTo>
                  <a:pt x="329185" y="486220"/>
                </a:lnTo>
                <a:cubicBezTo>
                  <a:pt x="374507" y="465267"/>
                  <a:pt x="406725" y="421415"/>
                  <a:pt x="411203" y="369646"/>
                </a:cubicBezTo>
                <a:lnTo>
                  <a:pt x="392360" y="373447"/>
                </a:lnTo>
                <a:close/>
                <a:moveTo>
                  <a:pt x="241933" y="136"/>
                </a:moveTo>
                <a:cubicBezTo>
                  <a:pt x="369594" y="4432"/>
                  <a:pt x="470091" y="109420"/>
                  <a:pt x="468100" y="235842"/>
                </a:cubicBezTo>
                <a:lnTo>
                  <a:pt x="426538" y="223399"/>
                </a:lnTo>
                <a:cubicBezTo>
                  <a:pt x="422616" y="124485"/>
                  <a:pt x="341963" y="44286"/>
                  <a:pt x="240568" y="40870"/>
                </a:cubicBezTo>
                <a:cubicBezTo>
                  <a:pt x="140908" y="37513"/>
                  <a:pt x="56281" y="109515"/>
                  <a:pt x="43510" y="205472"/>
                </a:cubicBezTo>
                <a:lnTo>
                  <a:pt x="1708" y="217565"/>
                </a:lnTo>
                <a:lnTo>
                  <a:pt x="1939" y="223841"/>
                </a:lnTo>
                <a:lnTo>
                  <a:pt x="0" y="223767"/>
                </a:lnTo>
                <a:cubicBezTo>
                  <a:pt x="4897" y="95750"/>
                  <a:pt x="113029" y="-4203"/>
                  <a:pt x="241933" y="13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Oval 26">
            <a:extLst>
              <a:ext uri="{FF2B5EF4-FFF2-40B4-BE49-F238E27FC236}">
                <a16:creationId xmlns:a16="http://schemas.microsoft.com/office/drawing/2014/main" id="{DF75EDFC-721D-BB41-9B60-F78B45B92FA9}"/>
              </a:ext>
            </a:extLst>
          </p:cNvPr>
          <p:cNvSpPr>
            <a:spLocks noChangeAspect="1"/>
          </p:cNvSpPr>
          <p:nvPr/>
        </p:nvSpPr>
        <p:spPr>
          <a:xfrm>
            <a:off x="2862633" y="3078320"/>
            <a:ext cx="546052" cy="546658"/>
          </a:xfrm>
          <a:custGeom>
            <a:avLst/>
            <a:gdLst/>
            <a:ahLst/>
            <a:cxnLst/>
            <a:rect l="l" t="t" r="r" b="b"/>
            <a:pathLst>
              <a:path w="1598526" h="1600300">
                <a:moveTo>
                  <a:pt x="1183513" y="1274991"/>
                </a:moveTo>
                <a:lnTo>
                  <a:pt x="1193421" y="1274991"/>
                </a:lnTo>
                <a:cubicBezTo>
                  <a:pt x="1212576" y="1335440"/>
                  <a:pt x="1267533" y="1378360"/>
                  <a:pt x="1332104" y="1378360"/>
                </a:cubicBezTo>
                <a:cubicBezTo>
                  <a:pt x="1396675" y="1378360"/>
                  <a:pt x="1451632" y="1335440"/>
                  <a:pt x="1470787" y="1274991"/>
                </a:cubicBezTo>
                <a:lnTo>
                  <a:pt x="1480696" y="1274991"/>
                </a:lnTo>
                <a:cubicBezTo>
                  <a:pt x="1545772" y="1274991"/>
                  <a:pt x="1598526" y="1327745"/>
                  <a:pt x="1598526" y="1392821"/>
                </a:cubicBezTo>
                <a:lnTo>
                  <a:pt x="1598526" y="1552593"/>
                </a:lnTo>
                <a:cubicBezTo>
                  <a:pt x="1598526" y="1578941"/>
                  <a:pt x="1577167" y="1600300"/>
                  <a:pt x="1550819" y="1600300"/>
                </a:cubicBezTo>
                <a:lnTo>
                  <a:pt x="1113390" y="1600300"/>
                </a:lnTo>
                <a:cubicBezTo>
                  <a:pt x="1087042" y="1600300"/>
                  <a:pt x="1065683" y="1578941"/>
                  <a:pt x="1065683" y="1552593"/>
                </a:cubicBezTo>
                <a:lnTo>
                  <a:pt x="1065683" y="1392821"/>
                </a:lnTo>
                <a:cubicBezTo>
                  <a:pt x="1065683" y="1327745"/>
                  <a:pt x="1118437" y="1274991"/>
                  <a:pt x="1183513" y="1274991"/>
                </a:cubicBezTo>
                <a:close/>
                <a:moveTo>
                  <a:pt x="117830" y="1267482"/>
                </a:moveTo>
                <a:lnTo>
                  <a:pt x="127738" y="1267482"/>
                </a:lnTo>
                <a:cubicBezTo>
                  <a:pt x="146893" y="1327931"/>
                  <a:pt x="201850" y="1370851"/>
                  <a:pt x="266421" y="1370851"/>
                </a:cubicBezTo>
                <a:cubicBezTo>
                  <a:pt x="330992" y="1370851"/>
                  <a:pt x="385949" y="1327931"/>
                  <a:pt x="405104" y="1267482"/>
                </a:cubicBezTo>
                <a:lnTo>
                  <a:pt x="415013" y="1267482"/>
                </a:lnTo>
                <a:cubicBezTo>
                  <a:pt x="480089" y="1267482"/>
                  <a:pt x="532843" y="1320236"/>
                  <a:pt x="532843" y="1385312"/>
                </a:cubicBezTo>
                <a:lnTo>
                  <a:pt x="532843" y="1545084"/>
                </a:lnTo>
                <a:cubicBezTo>
                  <a:pt x="532843" y="1571432"/>
                  <a:pt x="511484" y="1592791"/>
                  <a:pt x="485136" y="1592791"/>
                </a:cubicBezTo>
                <a:lnTo>
                  <a:pt x="47707" y="1592791"/>
                </a:lnTo>
                <a:cubicBezTo>
                  <a:pt x="21359" y="1592791"/>
                  <a:pt x="0" y="1571432"/>
                  <a:pt x="0" y="1545084"/>
                </a:cubicBezTo>
                <a:lnTo>
                  <a:pt x="0" y="1385312"/>
                </a:lnTo>
                <a:cubicBezTo>
                  <a:pt x="0" y="1320236"/>
                  <a:pt x="52754" y="1267482"/>
                  <a:pt x="117830" y="1267482"/>
                </a:cubicBezTo>
                <a:close/>
                <a:moveTo>
                  <a:pt x="1332104" y="1020550"/>
                </a:moveTo>
                <a:cubicBezTo>
                  <a:pt x="1410028" y="1020550"/>
                  <a:pt x="1473197" y="1084229"/>
                  <a:pt x="1473197" y="1162781"/>
                </a:cubicBezTo>
                <a:cubicBezTo>
                  <a:pt x="1473197" y="1241333"/>
                  <a:pt x="1410028" y="1305012"/>
                  <a:pt x="1332104" y="1305012"/>
                </a:cubicBezTo>
                <a:cubicBezTo>
                  <a:pt x="1254180" y="1305012"/>
                  <a:pt x="1191011" y="1241333"/>
                  <a:pt x="1191011" y="1162781"/>
                </a:cubicBezTo>
                <a:cubicBezTo>
                  <a:pt x="1191011" y="1084229"/>
                  <a:pt x="1254180" y="1020550"/>
                  <a:pt x="1332104" y="1020550"/>
                </a:cubicBezTo>
                <a:close/>
                <a:moveTo>
                  <a:pt x="266421" y="1013041"/>
                </a:moveTo>
                <a:cubicBezTo>
                  <a:pt x="344345" y="1013041"/>
                  <a:pt x="407514" y="1076720"/>
                  <a:pt x="407514" y="1155272"/>
                </a:cubicBezTo>
                <a:cubicBezTo>
                  <a:pt x="407514" y="1233824"/>
                  <a:pt x="344345" y="1297503"/>
                  <a:pt x="266421" y="1297503"/>
                </a:cubicBezTo>
                <a:cubicBezTo>
                  <a:pt x="188497" y="1297503"/>
                  <a:pt x="125328" y="1233824"/>
                  <a:pt x="125328" y="1155272"/>
                </a:cubicBezTo>
                <a:cubicBezTo>
                  <a:pt x="125328" y="1076720"/>
                  <a:pt x="188497" y="1013041"/>
                  <a:pt x="266421" y="1013041"/>
                </a:cubicBezTo>
                <a:close/>
                <a:moveTo>
                  <a:pt x="799263" y="691044"/>
                </a:moveTo>
                <a:cubicBezTo>
                  <a:pt x="830564" y="691044"/>
                  <a:pt x="855947" y="709402"/>
                  <a:pt x="855947" y="732067"/>
                </a:cubicBezTo>
                <a:lnTo>
                  <a:pt x="855947" y="872717"/>
                </a:lnTo>
                <a:lnTo>
                  <a:pt x="979323" y="930244"/>
                </a:lnTo>
                <a:cubicBezTo>
                  <a:pt x="999865" y="939822"/>
                  <a:pt x="1005777" y="970585"/>
                  <a:pt x="992550" y="998953"/>
                </a:cubicBezTo>
                <a:cubicBezTo>
                  <a:pt x="979322" y="1027322"/>
                  <a:pt x="951957" y="1042569"/>
                  <a:pt x="931415" y="1032991"/>
                </a:cubicBezTo>
                <a:lnTo>
                  <a:pt x="793327" y="968605"/>
                </a:lnTo>
                <a:lnTo>
                  <a:pt x="673134" y="1029691"/>
                </a:lnTo>
                <a:cubicBezTo>
                  <a:pt x="652928" y="1039960"/>
                  <a:pt x="625062" y="1025649"/>
                  <a:pt x="610881" y="997745"/>
                </a:cubicBezTo>
                <a:cubicBezTo>
                  <a:pt x="596699" y="969842"/>
                  <a:pt x="601565" y="938896"/>
                  <a:pt x="621770" y="928627"/>
                </a:cubicBezTo>
                <a:lnTo>
                  <a:pt x="742580" y="867228"/>
                </a:lnTo>
                <a:lnTo>
                  <a:pt x="742580" y="732067"/>
                </a:lnTo>
                <a:cubicBezTo>
                  <a:pt x="742580" y="709402"/>
                  <a:pt x="767963" y="691044"/>
                  <a:pt x="799263" y="691044"/>
                </a:cubicBezTo>
                <a:close/>
                <a:moveTo>
                  <a:pt x="650673" y="254441"/>
                </a:moveTo>
                <a:lnTo>
                  <a:pt x="660581" y="254441"/>
                </a:lnTo>
                <a:cubicBezTo>
                  <a:pt x="679736" y="314890"/>
                  <a:pt x="734693" y="357810"/>
                  <a:pt x="799264" y="357810"/>
                </a:cubicBezTo>
                <a:cubicBezTo>
                  <a:pt x="863835" y="357810"/>
                  <a:pt x="918792" y="314890"/>
                  <a:pt x="937947" y="254441"/>
                </a:cubicBezTo>
                <a:lnTo>
                  <a:pt x="947856" y="254441"/>
                </a:lnTo>
                <a:cubicBezTo>
                  <a:pt x="1012932" y="254441"/>
                  <a:pt x="1065686" y="307195"/>
                  <a:pt x="1065686" y="372271"/>
                </a:cubicBezTo>
                <a:lnTo>
                  <a:pt x="1065686" y="532043"/>
                </a:lnTo>
                <a:cubicBezTo>
                  <a:pt x="1065686" y="558391"/>
                  <a:pt x="1044327" y="579750"/>
                  <a:pt x="1017979" y="579750"/>
                </a:cubicBezTo>
                <a:lnTo>
                  <a:pt x="580550" y="579750"/>
                </a:lnTo>
                <a:cubicBezTo>
                  <a:pt x="554202" y="579750"/>
                  <a:pt x="532843" y="558391"/>
                  <a:pt x="532843" y="532043"/>
                </a:cubicBezTo>
                <a:lnTo>
                  <a:pt x="532843" y="372271"/>
                </a:lnTo>
                <a:cubicBezTo>
                  <a:pt x="532843" y="307195"/>
                  <a:pt x="585597" y="254441"/>
                  <a:pt x="650673" y="254441"/>
                </a:cubicBezTo>
                <a:close/>
                <a:moveTo>
                  <a:pt x="799264" y="0"/>
                </a:moveTo>
                <a:cubicBezTo>
                  <a:pt x="877188" y="0"/>
                  <a:pt x="940357" y="63679"/>
                  <a:pt x="940357" y="142231"/>
                </a:cubicBezTo>
                <a:cubicBezTo>
                  <a:pt x="940357" y="220783"/>
                  <a:pt x="877188" y="284462"/>
                  <a:pt x="799264" y="284462"/>
                </a:cubicBezTo>
                <a:cubicBezTo>
                  <a:pt x="721340" y="284462"/>
                  <a:pt x="658171" y="220783"/>
                  <a:pt x="658171" y="142231"/>
                </a:cubicBezTo>
                <a:cubicBezTo>
                  <a:pt x="658171" y="63679"/>
                  <a:pt x="721340" y="0"/>
                  <a:pt x="79926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Frame 73">
            <a:extLst>
              <a:ext uri="{FF2B5EF4-FFF2-40B4-BE49-F238E27FC236}">
                <a16:creationId xmlns:a16="http://schemas.microsoft.com/office/drawing/2014/main" id="{FC2605AF-A676-7944-827A-9973B82A36E6}"/>
              </a:ext>
            </a:extLst>
          </p:cNvPr>
          <p:cNvSpPr>
            <a:spLocks noChangeAspect="1"/>
          </p:cNvSpPr>
          <p:nvPr/>
        </p:nvSpPr>
        <p:spPr>
          <a:xfrm rot="5400000">
            <a:off x="4118699" y="3126530"/>
            <a:ext cx="472060" cy="462868"/>
          </a:xfrm>
          <a:custGeom>
            <a:avLst/>
            <a:gdLst/>
            <a:ahLst/>
            <a:cxnLst/>
            <a:rect l="l" t="t" r="r" b="b"/>
            <a:pathLst>
              <a:path w="599760" h="588083">
                <a:moveTo>
                  <a:pt x="562613" y="74048"/>
                </a:moveTo>
                <a:lnTo>
                  <a:pt x="563760" y="75370"/>
                </a:lnTo>
                <a:lnTo>
                  <a:pt x="563760" y="42246"/>
                </a:lnTo>
                <a:lnTo>
                  <a:pt x="562613" y="43569"/>
                </a:lnTo>
                <a:close/>
                <a:moveTo>
                  <a:pt x="366219" y="118701"/>
                </a:moveTo>
                <a:cubicBezTo>
                  <a:pt x="370085" y="115577"/>
                  <a:pt x="376479" y="117079"/>
                  <a:pt x="380499" y="122054"/>
                </a:cubicBezTo>
                <a:lnTo>
                  <a:pt x="411192" y="160036"/>
                </a:lnTo>
                <a:cubicBezTo>
                  <a:pt x="415212" y="165012"/>
                  <a:pt x="415338" y="171578"/>
                  <a:pt x="411472" y="174703"/>
                </a:cubicBezTo>
                <a:cubicBezTo>
                  <a:pt x="407606" y="177827"/>
                  <a:pt x="401212" y="176325"/>
                  <a:pt x="397191" y="171350"/>
                </a:cubicBezTo>
                <a:lnTo>
                  <a:pt x="366499" y="133368"/>
                </a:lnTo>
                <a:cubicBezTo>
                  <a:pt x="362478" y="128392"/>
                  <a:pt x="362352" y="121826"/>
                  <a:pt x="366219" y="118701"/>
                </a:cubicBezTo>
                <a:close/>
                <a:moveTo>
                  <a:pt x="314822" y="413861"/>
                </a:moveTo>
                <a:lnTo>
                  <a:pt x="323555" y="406740"/>
                </a:lnTo>
                <a:cubicBezTo>
                  <a:pt x="335298" y="413911"/>
                  <a:pt x="350469" y="417660"/>
                  <a:pt x="365987" y="417226"/>
                </a:cubicBezTo>
                <a:cubicBezTo>
                  <a:pt x="382325" y="416769"/>
                  <a:pt x="397723" y="411714"/>
                  <a:pt x="408741" y="403190"/>
                </a:cubicBezTo>
                <a:lnTo>
                  <a:pt x="418207" y="409282"/>
                </a:lnTo>
                <a:cubicBezTo>
                  <a:pt x="405216" y="420637"/>
                  <a:pt x="386527" y="427440"/>
                  <a:pt x="366596" y="428070"/>
                </a:cubicBezTo>
                <a:cubicBezTo>
                  <a:pt x="347508" y="428673"/>
                  <a:pt x="328883" y="423562"/>
                  <a:pt x="314822" y="413861"/>
                </a:cubicBezTo>
                <a:close/>
                <a:moveTo>
                  <a:pt x="307786" y="122119"/>
                </a:moveTo>
                <a:cubicBezTo>
                  <a:pt x="306417" y="117834"/>
                  <a:pt x="306537" y="114403"/>
                  <a:pt x="308471" y="112841"/>
                </a:cubicBezTo>
                <a:cubicBezTo>
                  <a:pt x="312337" y="109716"/>
                  <a:pt x="321991" y="115252"/>
                  <a:pt x="330031" y="125203"/>
                </a:cubicBezTo>
                <a:lnTo>
                  <a:pt x="391417" y="201168"/>
                </a:lnTo>
                <a:cubicBezTo>
                  <a:pt x="399458" y="211118"/>
                  <a:pt x="402844" y="221719"/>
                  <a:pt x="398977" y="224843"/>
                </a:cubicBezTo>
                <a:cubicBezTo>
                  <a:pt x="395111" y="227967"/>
                  <a:pt x="385457" y="222431"/>
                  <a:pt x="377417" y="212481"/>
                </a:cubicBezTo>
                <a:lnTo>
                  <a:pt x="316031" y="136516"/>
                </a:lnTo>
                <a:cubicBezTo>
                  <a:pt x="312011" y="131541"/>
                  <a:pt x="309154" y="126403"/>
                  <a:pt x="307786" y="122119"/>
                </a:cubicBezTo>
                <a:close/>
                <a:moveTo>
                  <a:pt x="306965" y="173576"/>
                </a:moveTo>
                <a:cubicBezTo>
                  <a:pt x="310831" y="170452"/>
                  <a:pt x="317225" y="171954"/>
                  <a:pt x="321245" y="176929"/>
                </a:cubicBezTo>
                <a:lnTo>
                  <a:pt x="351938" y="214911"/>
                </a:lnTo>
                <a:cubicBezTo>
                  <a:pt x="355958" y="219887"/>
                  <a:pt x="356084" y="226453"/>
                  <a:pt x="352218" y="229578"/>
                </a:cubicBezTo>
                <a:cubicBezTo>
                  <a:pt x="348352" y="232702"/>
                  <a:pt x="341958" y="231200"/>
                  <a:pt x="337937" y="226225"/>
                </a:cubicBezTo>
                <a:lnTo>
                  <a:pt x="307245" y="188243"/>
                </a:lnTo>
                <a:cubicBezTo>
                  <a:pt x="303224" y="183267"/>
                  <a:pt x="303098" y="176701"/>
                  <a:pt x="306965" y="173576"/>
                </a:cubicBezTo>
                <a:close/>
                <a:moveTo>
                  <a:pt x="185301" y="118491"/>
                </a:moveTo>
                <a:cubicBezTo>
                  <a:pt x="209062" y="114606"/>
                  <a:pt x="233093" y="123850"/>
                  <a:pt x="247103" y="142266"/>
                </a:cubicBezTo>
                <a:cubicBezTo>
                  <a:pt x="262446" y="162434"/>
                  <a:pt x="262668" y="189459"/>
                  <a:pt x="247657" y="209846"/>
                </a:cubicBezTo>
                <a:cubicBezTo>
                  <a:pt x="233934" y="228483"/>
                  <a:pt x="210020" y="238071"/>
                  <a:pt x="186176" y="234497"/>
                </a:cubicBezTo>
                <a:cubicBezTo>
                  <a:pt x="185884" y="195828"/>
                  <a:pt x="185593" y="157160"/>
                  <a:pt x="185301" y="118491"/>
                </a:cubicBezTo>
                <a:close/>
                <a:moveTo>
                  <a:pt x="185301" y="236107"/>
                </a:moveTo>
                <a:cubicBezTo>
                  <a:pt x="209062" y="232222"/>
                  <a:pt x="233093" y="241466"/>
                  <a:pt x="247103" y="259882"/>
                </a:cubicBezTo>
                <a:cubicBezTo>
                  <a:pt x="262446" y="280050"/>
                  <a:pt x="262668" y="307075"/>
                  <a:pt x="247657" y="327462"/>
                </a:cubicBezTo>
                <a:cubicBezTo>
                  <a:pt x="233934" y="346099"/>
                  <a:pt x="210020" y="355687"/>
                  <a:pt x="186176" y="352113"/>
                </a:cubicBezTo>
                <a:cubicBezTo>
                  <a:pt x="185884" y="313444"/>
                  <a:pt x="185593" y="274776"/>
                  <a:pt x="185301" y="236107"/>
                </a:cubicBezTo>
                <a:close/>
                <a:moveTo>
                  <a:pt x="185301" y="471339"/>
                </a:moveTo>
                <a:cubicBezTo>
                  <a:pt x="209062" y="467454"/>
                  <a:pt x="233093" y="476698"/>
                  <a:pt x="247103" y="495114"/>
                </a:cubicBezTo>
                <a:lnTo>
                  <a:pt x="252693" y="511273"/>
                </a:lnTo>
                <a:lnTo>
                  <a:pt x="563759" y="511273"/>
                </a:lnTo>
                <a:lnTo>
                  <a:pt x="561365" y="514033"/>
                </a:lnTo>
                <a:lnTo>
                  <a:pt x="561365" y="544512"/>
                </a:lnTo>
                <a:cubicBezTo>
                  <a:pt x="561365" y="545882"/>
                  <a:pt x="561679" y="547168"/>
                  <a:pt x="563760" y="547273"/>
                </a:cubicBezTo>
                <a:lnTo>
                  <a:pt x="252713" y="547273"/>
                </a:lnTo>
                <a:cubicBezTo>
                  <a:pt x="253581" y="553297"/>
                  <a:pt x="250996" y="558160"/>
                  <a:pt x="247657" y="562694"/>
                </a:cubicBezTo>
                <a:cubicBezTo>
                  <a:pt x="233934" y="581331"/>
                  <a:pt x="210020" y="590919"/>
                  <a:pt x="186176" y="587345"/>
                </a:cubicBezTo>
                <a:cubicBezTo>
                  <a:pt x="185884" y="548676"/>
                  <a:pt x="185593" y="510008"/>
                  <a:pt x="185301" y="471339"/>
                </a:cubicBezTo>
                <a:close/>
                <a:moveTo>
                  <a:pt x="185300" y="353723"/>
                </a:moveTo>
                <a:cubicBezTo>
                  <a:pt x="197386" y="351747"/>
                  <a:pt x="209542" y="353167"/>
                  <a:pt x="220353" y="357616"/>
                </a:cubicBezTo>
                <a:lnTo>
                  <a:pt x="563760" y="357616"/>
                </a:lnTo>
                <a:lnTo>
                  <a:pt x="563760" y="76809"/>
                </a:lnTo>
                <a:lnTo>
                  <a:pt x="252713" y="76809"/>
                </a:lnTo>
                <a:cubicBezTo>
                  <a:pt x="253581" y="82833"/>
                  <a:pt x="250996" y="87695"/>
                  <a:pt x="247657" y="92230"/>
                </a:cubicBezTo>
                <a:cubicBezTo>
                  <a:pt x="233934" y="110867"/>
                  <a:pt x="210020" y="120455"/>
                  <a:pt x="186176" y="116881"/>
                </a:cubicBezTo>
                <a:cubicBezTo>
                  <a:pt x="185884" y="78212"/>
                  <a:pt x="185593" y="39544"/>
                  <a:pt x="185301" y="875"/>
                </a:cubicBezTo>
                <a:cubicBezTo>
                  <a:pt x="209062" y="-3010"/>
                  <a:pt x="233093" y="6234"/>
                  <a:pt x="247103" y="24650"/>
                </a:cubicBezTo>
                <a:lnTo>
                  <a:pt x="252693" y="40809"/>
                </a:lnTo>
                <a:lnTo>
                  <a:pt x="563760" y="40809"/>
                </a:lnTo>
                <a:lnTo>
                  <a:pt x="563760" y="20347"/>
                </a:lnTo>
                <a:lnTo>
                  <a:pt x="566520" y="23938"/>
                </a:lnTo>
                <a:lnTo>
                  <a:pt x="596999" y="23938"/>
                </a:lnTo>
                <a:cubicBezTo>
                  <a:pt x="598369" y="23938"/>
                  <a:pt x="599655" y="23467"/>
                  <a:pt x="599760" y="20346"/>
                </a:cubicBezTo>
                <a:lnTo>
                  <a:pt x="599760" y="560346"/>
                </a:lnTo>
                <a:lnTo>
                  <a:pt x="563760" y="560346"/>
                </a:lnTo>
                <a:lnTo>
                  <a:pt x="563760" y="547273"/>
                </a:lnTo>
                <a:lnTo>
                  <a:pt x="563760" y="379869"/>
                </a:lnTo>
                <a:lnTo>
                  <a:pt x="247922" y="379869"/>
                </a:lnTo>
                <a:cubicBezTo>
                  <a:pt x="262444" y="399384"/>
                  <a:pt x="262188" y="425341"/>
                  <a:pt x="247656" y="445078"/>
                </a:cubicBezTo>
                <a:cubicBezTo>
                  <a:pt x="233933" y="463715"/>
                  <a:pt x="210019" y="473303"/>
                  <a:pt x="186175" y="469729"/>
                </a:cubicBezTo>
                <a:cubicBezTo>
                  <a:pt x="185883" y="431060"/>
                  <a:pt x="185592" y="392392"/>
                  <a:pt x="185300" y="353723"/>
                </a:cubicBezTo>
                <a:close/>
                <a:moveTo>
                  <a:pt x="42514" y="555063"/>
                </a:moveTo>
                <a:lnTo>
                  <a:pt x="42514" y="29166"/>
                </a:lnTo>
                <a:lnTo>
                  <a:pt x="159175" y="1"/>
                </a:lnTo>
                <a:lnTo>
                  <a:pt x="159175" y="584228"/>
                </a:lnTo>
                <a:close/>
                <a:moveTo>
                  <a:pt x="0" y="560346"/>
                </a:moveTo>
                <a:lnTo>
                  <a:pt x="0" y="20347"/>
                </a:lnTo>
                <a:lnTo>
                  <a:pt x="2760" y="23938"/>
                </a:lnTo>
                <a:lnTo>
                  <a:pt x="33239" y="23938"/>
                </a:lnTo>
                <a:cubicBezTo>
                  <a:pt x="34609" y="23938"/>
                  <a:pt x="35895" y="23467"/>
                  <a:pt x="36000" y="20346"/>
                </a:cubicBezTo>
                <a:lnTo>
                  <a:pt x="36000" y="56034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3970D7E4-C84D-E245-BD8B-BB29F2E655E5}"/>
              </a:ext>
            </a:extLst>
          </p:cNvPr>
          <p:cNvGrpSpPr/>
          <p:nvPr/>
        </p:nvGrpSpPr>
        <p:grpSpPr>
          <a:xfrm>
            <a:off x="5135861" y="3063550"/>
            <a:ext cx="900914" cy="673562"/>
            <a:chOff x="3622903" y="2317021"/>
            <a:chExt cx="415143" cy="310379"/>
          </a:xfrm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831F8BC8-137A-3A4D-9A3C-70577B92977A}"/>
                </a:ext>
              </a:extLst>
            </p:cNvPr>
            <p:cNvGrpSpPr/>
            <p:nvPr/>
          </p:nvGrpSpPr>
          <p:grpSpPr>
            <a:xfrm>
              <a:off x="3882756" y="2318671"/>
              <a:ext cx="155290" cy="136536"/>
              <a:chOff x="1843782" y="1431127"/>
              <a:chExt cx="317569" cy="254494"/>
            </a:xfrm>
            <a:solidFill>
              <a:schemeClr val="accent1"/>
            </a:solidFill>
          </p:grpSpPr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EDBBEB55-51D0-A64A-BD83-432634EC7ABE}"/>
                  </a:ext>
                </a:extLst>
              </p:cNvPr>
              <p:cNvGrpSpPr/>
              <p:nvPr/>
            </p:nvGrpSpPr>
            <p:grpSpPr>
              <a:xfrm>
                <a:off x="1843782" y="1431127"/>
                <a:ext cx="317569" cy="228060"/>
                <a:chOff x="1843782" y="1431127"/>
                <a:chExt cx="317569" cy="228060"/>
              </a:xfrm>
              <a:grpFill/>
            </p:grpSpPr>
            <p:sp>
              <p:nvSpPr>
                <p:cNvPr id="75" name="Freeform 74">
                  <a:extLst>
                    <a:ext uri="{FF2B5EF4-FFF2-40B4-BE49-F238E27FC236}">
                      <a16:creationId xmlns:a16="http://schemas.microsoft.com/office/drawing/2014/main" id="{D52553E2-009A-D446-B6CF-311B4D41BF42}"/>
                    </a:ext>
                  </a:extLst>
                </p:cNvPr>
                <p:cNvSpPr/>
                <p:nvPr/>
              </p:nvSpPr>
              <p:spPr>
                <a:xfrm>
                  <a:off x="1843782" y="1431127"/>
                  <a:ext cx="202406" cy="203430"/>
                </a:xfrm>
                <a:custGeom>
                  <a:avLst/>
                  <a:gdLst>
                    <a:gd name="connsiteX0" fmla="*/ 44053 w 202406"/>
                    <a:gd name="connsiteY0" fmla="*/ 114610 h 203431"/>
                    <a:gd name="connsiteX1" fmla="*/ 44053 w 202406"/>
                    <a:gd name="connsiteY1" fmla="*/ 160329 h 203431"/>
                    <a:gd name="connsiteX2" fmla="*/ 101203 w 202406"/>
                    <a:gd name="connsiteY2" fmla="*/ 160329 h 203431"/>
                    <a:gd name="connsiteX3" fmla="*/ 101203 w 202406"/>
                    <a:gd name="connsiteY3" fmla="*/ 114610 h 203431"/>
                    <a:gd name="connsiteX4" fmla="*/ 132197 w 202406"/>
                    <a:gd name="connsiteY4" fmla="*/ 0 h 203431"/>
                    <a:gd name="connsiteX5" fmla="*/ 150197 w 202406"/>
                    <a:gd name="connsiteY5" fmla="*/ 0 h 203431"/>
                    <a:gd name="connsiteX6" fmla="*/ 150197 w 202406"/>
                    <a:gd name="connsiteY6" fmla="*/ 52766 h 203431"/>
                    <a:gd name="connsiteX7" fmla="*/ 202406 w 202406"/>
                    <a:gd name="connsiteY7" fmla="*/ 100319 h 203431"/>
                    <a:gd name="connsiteX8" fmla="*/ 181670 w 202406"/>
                    <a:gd name="connsiteY8" fmla="*/ 100319 h 203431"/>
                    <a:gd name="connsiteX9" fmla="*/ 181670 w 202406"/>
                    <a:gd name="connsiteY9" fmla="*/ 203431 h 203431"/>
                    <a:gd name="connsiteX10" fmla="*/ 166023 w 202406"/>
                    <a:gd name="connsiteY10" fmla="*/ 203431 h 203431"/>
                    <a:gd name="connsiteX11" fmla="*/ 166023 w 202406"/>
                    <a:gd name="connsiteY11" fmla="*/ 114610 h 203431"/>
                    <a:gd name="connsiteX12" fmla="*/ 120304 w 202406"/>
                    <a:gd name="connsiteY12" fmla="*/ 114610 h 203431"/>
                    <a:gd name="connsiteX13" fmla="*/ 120304 w 202406"/>
                    <a:gd name="connsiteY13" fmla="*/ 203431 h 203431"/>
                    <a:gd name="connsiteX14" fmla="*/ 20736 w 202406"/>
                    <a:gd name="connsiteY14" fmla="*/ 203431 h 203431"/>
                    <a:gd name="connsiteX15" fmla="*/ 20736 w 202406"/>
                    <a:gd name="connsiteY15" fmla="*/ 100319 h 203431"/>
                    <a:gd name="connsiteX16" fmla="*/ 0 w 202406"/>
                    <a:gd name="connsiteY16" fmla="*/ 100319 h 203431"/>
                    <a:gd name="connsiteX17" fmla="*/ 101203 w 202406"/>
                    <a:gd name="connsiteY17" fmla="*/ 8142 h 203431"/>
                    <a:gd name="connsiteX18" fmla="*/ 132197 w 202406"/>
                    <a:gd name="connsiteY18" fmla="*/ 36372 h 203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202406" h="203431">
                      <a:moveTo>
                        <a:pt x="44053" y="114610"/>
                      </a:moveTo>
                      <a:lnTo>
                        <a:pt x="44053" y="160329"/>
                      </a:lnTo>
                      <a:lnTo>
                        <a:pt x="101203" y="160329"/>
                      </a:lnTo>
                      <a:lnTo>
                        <a:pt x="101203" y="114610"/>
                      </a:lnTo>
                      <a:close/>
                      <a:moveTo>
                        <a:pt x="132197" y="0"/>
                      </a:moveTo>
                      <a:lnTo>
                        <a:pt x="150197" y="0"/>
                      </a:lnTo>
                      <a:lnTo>
                        <a:pt x="150197" y="52766"/>
                      </a:lnTo>
                      <a:lnTo>
                        <a:pt x="202406" y="100319"/>
                      </a:lnTo>
                      <a:lnTo>
                        <a:pt x="181670" y="100319"/>
                      </a:lnTo>
                      <a:lnTo>
                        <a:pt x="181670" y="203431"/>
                      </a:lnTo>
                      <a:lnTo>
                        <a:pt x="166023" y="203431"/>
                      </a:lnTo>
                      <a:lnTo>
                        <a:pt x="166023" y="114610"/>
                      </a:lnTo>
                      <a:lnTo>
                        <a:pt x="120304" y="114610"/>
                      </a:lnTo>
                      <a:lnTo>
                        <a:pt x="120304" y="203431"/>
                      </a:lnTo>
                      <a:lnTo>
                        <a:pt x="20736" y="203431"/>
                      </a:lnTo>
                      <a:lnTo>
                        <a:pt x="20736" y="100319"/>
                      </a:lnTo>
                      <a:lnTo>
                        <a:pt x="0" y="100319"/>
                      </a:lnTo>
                      <a:lnTo>
                        <a:pt x="101203" y="8142"/>
                      </a:lnTo>
                      <a:lnTo>
                        <a:pt x="132197" y="3637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BE"/>
                </a:p>
              </p:txBody>
            </p:sp>
            <p:sp>
              <p:nvSpPr>
                <p:cNvPr id="76" name="Freeform 75">
                  <a:extLst>
                    <a:ext uri="{FF2B5EF4-FFF2-40B4-BE49-F238E27FC236}">
                      <a16:creationId xmlns:a16="http://schemas.microsoft.com/office/drawing/2014/main" id="{56D8190B-1106-F94E-A8EC-EF77180C8832}"/>
                    </a:ext>
                  </a:extLst>
                </p:cNvPr>
                <p:cNvSpPr/>
                <p:nvPr/>
              </p:nvSpPr>
              <p:spPr>
                <a:xfrm>
                  <a:off x="1985877" y="1578915"/>
                  <a:ext cx="175474" cy="80272"/>
                </a:xfrm>
                <a:custGeom>
                  <a:avLst/>
                  <a:gdLst>
                    <a:gd name="connsiteX0" fmla="*/ 90347 w 175474"/>
                    <a:gd name="connsiteY0" fmla="*/ 13912 h 80272"/>
                    <a:gd name="connsiteX1" fmla="*/ 90347 w 175474"/>
                    <a:gd name="connsiteY1" fmla="*/ 49912 h 80272"/>
                    <a:gd name="connsiteX2" fmla="*/ 123020 w 175474"/>
                    <a:gd name="connsiteY2" fmla="*/ 49912 h 80272"/>
                    <a:gd name="connsiteX3" fmla="*/ 126347 w 175474"/>
                    <a:gd name="connsiteY3" fmla="*/ 49912 h 80272"/>
                    <a:gd name="connsiteX4" fmla="*/ 159020 w 175474"/>
                    <a:gd name="connsiteY4" fmla="*/ 49912 h 80272"/>
                    <a:gd name="connsiteX5" fmla="*/ 126347 w 175474"/>
                    <a:gd name="connsiteY5" fmla="*/ 17239 h 80272"/>
                    <a:gd name="connsiteX6" fmla="*/ 126347 w 175474"/>
                    <a:gd name="connsiteY6" fmla="*/ 13912 h 80272"/>
                    <a:gd name="connsiteX7" fmla="*/ 123020 w 175474"/>
                    <a:gd name="connsiteY7" fmla="*/ 13912 h 80272"/>
                    <a:gd name="connsiteX8" fmla="*/ 121127 w 175474"/>
                    <a:gd name="connsiteY8" fmla="*/ 0 h 80272"/>
                    <a:gd name="connsiteX9" fmla="*/ 175474 w 175474"/>
                    <a:gd name="connsiteY9" fmla="*/ 51449 h 80272"/>
                    <a:gd name="connsiteX10" fmla="*/ 175474 w 175474"/>
                    <a:gd name="connsiteY10" fmla="*/ 79200 h 80272"/>
                    <a:gd name="connsiteX11" fmla="*/ 121127 w 175474"/>
                    <a:gd name="connsiteY11" fmla="*/ 79200 h 80272"/>
                    <a:gd name="connsiteX12" fmla="*/ 121127 w 175474"/>
                    <a:gd name="connsiteY12" fmla="*/ 80272 h 80272"/>
                    <a:gd name="connsiteX13" fmla="*/ 0 w 175474"/>
                    <a:gd name="connsiteY13" fmla="*/ 80272 h 80272"/>
                    <a:gd name="connsiteX14" fmla="*/ 0 w 175474"/>
                    <a:gd name="connsiteY14" fmla="*/ 791 h 80272"/>
                    <a:gd name="connsiteX15" fmla="*/ 121127 w 175474"/>
                    <a:gd name="connsiteY15" fmla="*/ 791 h 802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75474" h="80272">
                      <a:moveTo>
                        <a:pt x="90347" y="13912"/>
                      </a:moveTo>
                      <a:lnTo>
                        <a:pt x="90347" y="49912"/>
                      </a:lnTo>
                      <a:lnTo>
                        <a:pt x="123020" y="49912"/>
                      </a:lnTo>
                      <a:lnTo>
                        <a:pt x="126347" y="49912"/>
                      </a:lnTo>
                      <a:lnTo>
                        <a:pt x="159020" y="49912"/>
                      </a:lnTo>
                      <a:lnTo>
                        <a:pt x="126347" y="17239"/>
                      </a:lnTo>
                      <a:lnTo>
                        <a:pt x="126347" y="13912"/>
                      </a:lnTo>
                      <a:lnTo>
                        <a:pt x="123020" y="13912"/>
                      </a:lnTo>
                      <a:close/>
                      <a:moveTo>
                        <a:pt x="121127" y="0"/>
                      </a:moveTo>
                      <a:lnTo>
                        <a:pt x="175474" y="51449"/>
                      </a:lnTo>
                      <a:lnTo>
                        <a:pt x="175474" y="79200"/>
                      </a:lnTo>
                      <a:lnTo>
                        <a:pt x="121127" y="79200"/>
                      </a:lnTo>
                      <a:lnTo>
                        <a:pt x="121127" y="80272"/>
                      </a:lnTo>
                      <a:lnTo>
                        <a:pt x="0" y="80272"/>
                      </a:lnTo>
                      <a:lnTo>
                        <a:pt x="0" y="791"/>
                      </a:lnTo>
                      <a:lnTo>
                        <a:pt x="121127" y="79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BE"/>
                </a:p>
              </p:txBody>
            </p:sp>
          </p:grp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76A56EAE-189A-084B-84CC-DCCABF884B0A}"/>
                  </a:ext>
                </a:extLst>
              </p:cNvPr>
              <p:cNvSpPr/>
              <p:nvPr/>
            </p:nvSpPr>
            <p:spPr>
              <a:xfrm>
                <a:off x="2003786" y="1649621"/>
                <a:ext cx="36000" cy="36000"/>
              </a:xfrm>
              <a:prstGeom prst="ellipse">
                <a:avLst/>
              </a:prstGeom>
              <a:grpFill/>
              <a:ln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/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ACA6E054-26CB-A04E-BEFD-C5CEF4203917}"/>
                  </a:ext>
                </a:extLst>
              </p:cNvPr>
              <p:cNvSpPr/>
              <p:nvPr/>
            </p:nvSpPr>
            <p:spPr>
              <a:xfrm>
                <a:off x="2107005" y="1649621"/>
                <a:ext cx="36000" cy="36000"/>
              </a:xfrm>
              <a:prstGeom prst="ellipse">
                <a:avLst/>
              </a:prstGeom>
              <a:grpFill/>
              <a:ln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/>
              </a:p>
            </p:txBody>
          </p:sp>
        </p:grpSp>
        <p:sp>
          <p:nvSpPr>
            <p:cNvPr id="68" name="Rounded Rectangle 143">
              <a:extLst>
                <a:ext uri="{FF2B5EF4-FFF2-40B4-BE49-F238E27FC236}">
                  <a16:creationId xmlns:a16="http://schemas.microsoft.com/office/drawing/2014/main" id="{6CEA0E69-753E-F14E-9E11-A7835079BFF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70750" y="2390660"/>
              <a:ext cx="143614" cy="236740"/>
            </a:xfrm>
            <a:custGeom>
              <a:avLst/>
              <a:gdLst/>
              <a:ahLst/>
              <a:cxnLst/>
              <a:rect l="l" t="t" r="r" b="b"/>
              <a:pathLst>
                <a:path w="1057722" h="1743600">
                  <a:moveTo>
                    <a:pt x="585225" y="982687"/>
                  </a:moveTo>
                  <a:lnTo>
                    <a:pt x="1057722" y="982687"/>
                  </a:lnTo>
                  <a:lnTo>
                    <a:pt x="1057722" y="1262302"/>
                  </a:lnTo>
                  <a:lnTo>
                    <a:pt x="585225" y="1262302"/>
                  </a:lnTo>
                  <a:close/>
                  <a:moveTo>
                    <a:pt x="506440" y="335745"/>
                  </a:moveTo>
                  <a:cubicBezTo>
                    <a:pt x="531949" y="346729"/>
                    <a:pt x="555389" y="364846"/>
                    <a:pt x="574445" y="389719"/>
                  </a:cubicBezTo>
                  <a:cubicBezTo>
                    <a:pt x="673710" y="456012"/>
                    <a:pt x="770021" y="559831"/>
                    <a:pt x="847440" y="682402"/>
                  </a:cubicBezTo>
                  <a:cubicBezTo>
                    <a:pt x="863892" y="708448"/>
                    <a:pt x="879184" y="734857"/>
                    <a:pt x="891036" y="762610"/>
                  </a:cubicBezTo>
                  <a:cubicBezTo>
                    <a:pt x="893331" y="802075"/>
                    <a:pt x="886086" y="830348"/>
                    <a:pt x="867973" y="844129"/>
                  </a:cubicBezTo>
                  <a:cubicBezTo>
                    <a:pt x="873743" y="845568"/>
                    <a:pt x="878601" y="848860"/>
                    <a:pt x="883281" y="852625"/>
                  </a:cubicBezTo>
                  <a:cubicBezTo>
                    <a:pt x="914684" y="877894"/>
                    <a:pt x="932975" y="920574"/>
                    <a:pt x="931718" y="965645"/>
                  </a:cubicBezTo>
                  <a:lnTo>
                    <a:pt x="907238" y="964678"/>
                  </a:lnTo>
                  <a:cubicBezTo>
                    <a:pt x="908152" y="928863"/>
                    <a:pt x="894549" y="894869"/>
                    <a:pt x="871022" y="874177"/>
                  </a:cubicBezTo>
                  <a:cubicBezTo>
                    <a:pt x="861712" y="865989"/>
                    <a:pt x="851440" y="860381"/>
                    <a:pt x="840585" y="858133"/>
                  </a:cubicBezTo>
                  <a:cubicBezTo>
                    <a:pt x="830649" y="863588"/>
                    <a:pt x="818542" y="862879"/>
                    <a:pt x="805419" y="857855"/>
                  </a:cubicBezTo>
                  <a:cubicBezTo>
                    <a:pt x="791669" y="859787"/>
                    <a:pt x="778748" y="867047"/>
                    <a:pt x="767563" y="878278"/>
                  </a:cubicBezTo>
                  <a:cubicBezTo>
                    <a:pt x="745530" y="900403"/>
                    <a:pt x="733695" y="934620"/>
                    <a:pt x="735934" y="969725"/>
                  </a:cubicBezTo>
                  <a:lnTo>
                    <a:pt x="711545" y="972131"/>
                  </a:lnTo>
                  <a:cubicBezTo>
                    <a:pt x="708456" y="927811"/>
                    <a:pt x="724454" y="884648"/>
                    <a:pt x="754044" y="857462"/>
                  </a:cubicBezTo>
                  <a:lnTo>
                    <a:pt x="772206" y="845674"/>
                  </a:lnTo>
                  <a:cubicBezTo>
                    <a:pt x="766566" y="845175"/>
                    <a:pt x="761612" y="842677"/>
                    <a:pt x="756533" y="839926"/>
                  </a:cubicBezTo>
                  <a:lnTo>
                    <a:pt x="656608" y="660487"/>
                  </a:lnTo>
                  <a:lnTo>
                    <a:pt x="656608" y="915832"/>
                  </a:lnTo>
                  <a:lnTo>
                    <a:pt x="656352" y="917101"/>
                  </a:lnTo>
                  <a:lnTo>
                    <a:pt x="651711" y="917101"/>
                  </a:lnTo>
                  <a:cubicBezTo>
                    <a:pt x="655579" y="926034"/>
                    <a:pt x="656608" y="935792"/>
                    <a:pt x="656608" y="945836"/>
                  </a:cubicBezTo>
                  <a:lnTo>
                    <a:pt x="656608" y="964939"/>
                  </a:lnTo>
                  <a:lnTo>
                    <a:pt x="556478" y="964939"/>
                  </a:lnTo>
                  <a:lnTo>
                    <a:pt x="556478" y="1283972"/>
                  </a:lnTo>
                  <a:lnTo>
                    <a:pt x="656608" y="1283972"/>
                  </a:lnTo>
                  <a:lnTo>
                    <a:pt x="656608" y="1553149"/>
                  </a:lnTo>
                  <a:lnTo>
                    <a:pt x="656608" y="1618701"/>
                  </a:lnTo>
                  <a:cubicBezTo>
                    <a:pt x="656608" y="1687707"/>
                    <a:pt x="610682" y="1743600"/>
                    <a:pt x="554049" y="1743600"/>
                  </a:cubicBezTo>
                  <a:cubicBezTo>
                    <a:pt x="497416" y="1743600"/>
                    <a:pt x="451491" y="1687707"/>
                    <a:pt x="451491" y="1618701"/>
                  </a:cubicBezTo>
                  <a:lnTo>
                    <a:pt x="451491" y="1553149"/>
                  </a:lnTo>
                  <a:lnTo>
                    <a:pt x="451491" y="1126461"/>
                  </a:lnTo>
                  <a:lnTo>
                    <a:pt x="447449" y="1127373"/>
                  </a:lnTo>
                  <a:lnTo>
                    <a:pt x="447449" y="1558926"/>
                  </a:lnTo>
                  <a:lnTo>
                    <a:pt x="447449" y="1622029"/>
                  </a:lnTo>
                  <a:cubicBezTo>
                    <a:pt x="447449" y="1688455"/>
                    <a:pt x="400665" y="1742260"/>
                    <a:pt x="342973" y="1742260"/>
                  </a:cubicBezTo>
                  <a:cubicBezTo>
                    <a:pt x="285282" y="1742260"/>
                    <a:pt x="238498" y="1688455"/>
                    <a:pt x="238498" y="1622029"/>
                  </a:cubicBezTo>
                  <a:lnTo>
                    <a:pt x="238498" y="1558926"/>
                  </a:lnTo>
                  <a:lnTo>
                    <a:pt x="238498" y="1021011"/>
                  </a:lnTo>
                  <a:lnTo>
                    <a:pt x="238498" y="974309"/>
                  </a:lnTo>
                  <a:lnTo>
                    <a:pt x="244225" y="942555"/>
                  </a:lnTo>
                  <a:cubicBezTo>
                    <a:pt x="240491" y="934417"/>
                    <a:pt x="238499" y="925357"/>
                    <a:pt x="238499" y="915832"/>
                  </a:cubicBezTo>
                  <a:lnTo>
                    <a:pt x="238499" y="674267"/>
                  </a:lnTo>
                  <a:lnTo>
                    <a:pt x="142741" y="854739"/>
                  </a:lnTo>
                  <a:cubicBezTo>
                    <a:pt x="52037" y="902914"/>
                    <a:pt x="-1825" y="871891"/>
                    <a:pt x="47" y="774258"/>
                  </a:cubicBezTo>
                  <a:cubicBezTo>
                    <a:pt x="11209" y="746129"/>
                    <a:pt x="25997" y="719414"/>
                    <a:pt x="42001" y="693083"/>
                  </a:cubicBezTo>
                  <a:cubicBezTo>
                    <a:pt x="118066" y="567936"/>
                    <a:pt x="214903" y="462522"/>
                    <a:pt x="316129" y="396232"/>
                  </a:cubicBezTo>
                  <a:cubicBezTo>
                    <a:pt x="335772" y="367956"/>
                    <a:pt x="361002" y="347657"/>
                    <a:pt x="388663" y="335746"/>
                  </a:cubicBezTo>
                  <a:lnTo>
                    <a:pt x="444395" y="403359"/>
                  </a:lnTo>
                  <a:lnTo>
                    <a:pt x="414722" y="581563"/>
                  </a:lnTo>
                  <a:lnTo>
                    <a:pt x="415153" y="581563"/>
                  </a:lnTo>
                  <a:lnTo>
                    <a:pt x="382753" y="765327"/>
                  </a:lnTo>
                  <a:lnTo>
                    <a:pt x="382754" y="765327"/>
                  </a:lnTo>
                  <a:lnTo>
                    <a:pt x="447554" y="935100"/>
                  </a:lnTo>
                  <a:lnTo>
                    <a:pt x="457971" y="907809"/>
                  </a:lnTo>
                  <a:cubicBezTo>
                    <a:pt x="458670" y="900479"/>
                    <a:pt x="461149" y="893784"/>
                    <a:pt x="465498" y="888087"/>
                  </a:cubicBezTo>
                  <a:lnTo>
                    <a:pt x="512354" y="765327"/>
                  </a:lnTo>
                  <a:lnTo>
                    <a:pt x="512353" y="765327"/>
                  </a:lnTo>
                  <a:lnTo>
                    <a:pt x="479953" y="581563"/>
                  </a:lnTo>
                  <a:lnTo>
                    <a:pt x="480386" y="581563"/>
                  </a:lnTo>
                  <a:lnTo>
                    <a:pt x="450712" y="403352"/>
                  </a:lnTo>
                  <a:close/>
                  <a:moveTo>
                    <a:pt x="451492" y="0"/>
                  </a:moveTo>
                  <a:cubicBezTo>
                    <a:pt x="540648" y="0"/>
                    <a:pt x="612924" y="75990"/>
                    <a:pt x="612924" y="169728"/>
                  </a:cubicBezTo>
                  <a:cubicBezTo>
                    <a:pt x="612924" y="263466"/>
                    <a:pt x="540648" y="339456"/>
                    <a:pt x="451492" y="339456"/>
                  </a:cubicBezTo>
                  <a:cubicBezTo>
                    <a:pt x="362336" y="339456"/>
                    <a:pt x="290060" y="263466"/>
                    <a:pt x="290060" y="169728"/>
                  </a:cubicBezTo>
                  <a:cubicBezTo>
                    <a:pt x="290060" y="75990"/>
                    <a:pt x="362336" y="0"/>
                    <a:pt x="45149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75FF61BF-14B8-554B-B38B-BACC891F6F8E}"/>
                </a:ext>
              </a:extLst>
            </p:cNvPr>
            <p:cNvGrpSpPr/>
            <p:nvPr/>
          </p:nvGrpSpPr>
          <p:grpSpPr>
            <a:xfrm>
              <a:off x="3622903" y="2317021"/>
              <a:ext cx="179454" cy="133740"/>
              <a:chOff x="2623301" y="618194"/>
              <a:chExt cx="1168735" cy="714155"/>
            </a:xfrm>
            <a:solidFill>
              <a:schemeClr val="accent1"/>
            </a:solidFill>
          </p:grpSpPr>
          <p:sp>
            <p:nvSpPr>
              <p:cNvPr id="70" name="Freeform 69">
                <a:extLst>
                  <a:ext uri="{FF2B5EF4-FFF2-40B4-BE49-F238E27FC236}">
                    <a16:creationId xmlns:a16="http://schemas.microsoft.com/office/drawing/2014/main" id="{36988417-D92C-B640-84D8-04DE90970CE8}"/>
                  </a:ext>
                </a:extLst>
              </p:cNvPr>
              <p:cNvSpPr/>
              <p:nvPr/>
            </p:nvSpPr>
            <p:spPr>
              <a:xfrm>
                <a:off x="2623301" y="618194"/>
                <a:ext cx="684000" cy="587043"/>
              </a:xfrm>
              <a:custGeom>
                <a:avLst/>
                <a:gdLst>
                  <a:gd name="connsiteX0" fmla="*/ 284797 w 684000"/>
                  <a:gd name="connsiteY0" fmla="*/ 401994 h 587043"/>
                  <a:gd name="connsiteX1" fmla="*/ 284797 w 684000"/>
                  <a:gd name="connsiteY1" fmla="*/ 554201 h 587043"/>
                  <a:gd name="connsiteX2" fmla="*/ 409656 w 684000"/>
                  <a:gd name="connsiteY2" fmla="*/ 554201 h 587043"/>
                  <a:gd name="connsiteX3" fmla="*/ 409656 w 684000"/>
                  <a:gd name="connsiteY3" fmla="*/ 401994 h 587043"/>
                  <a:gd name="connsiteX4" fmla="*/ 88736 w 684000"/>
                  <a:gd name="connsiteY4" fmla="*/ 387901 h 587043"/>
                  <a:gd name="connsiteX5" fmla="*/ 88736 w 684000"/>
                  <a:gd name="connsiteY5" fmla="*/ 459901 h 587043"/>
                  <a:gd name="connsiteX6" fmla="*/ 160736 w 684000"/>
                  <a:gd name="connsiteY6" fmla="*/ 459901 h 587043"/>
                  <a:gd name="connsiteX7" fmla="*/ 160736 w 684000"/>
                  <a:gd name="connsiteY7" fmla="*/ 387901 h 587043"/>
                  <a:gd name="connsiteX8" fmla="*/ 530459 w 684000"/>
                  <a:gd name="connsiteY8" fmla="*/ 379503 h 587043"/>
                  <a:gd name="connsiteX9" fmla="*/ 530459 w 684000"/>
                  <a:gd name="connsiteY9" fmla="*/ 451503 h 587043"/>
                  <a:gd name="connsiteX10" fmla="*/ 602459 w 684000"/>
                  <a:gd name="connsiteY10" fmla="*/ 451503 h 587043"/>
                  <a:gd name="connsiteX11" fmla="*/ 602459 w 684000"/>
                  <a:gd name="connsiteY11" fmla="*/ 379503 h 587043"/>
                  <a:gd name="connsiteX12" fmla="*/ 377068 w 684000"/>
                  <a:gd name="connsiteY12" fmla="*/ 308286 h 587043"/>
                  <a:gd name="connsiteX13" fmla="*/ 377068 w 684000"/>
                  <a:gd name="connsiteY13" fmla="*/ 380286 h 587043"/>
                  <a:gd name="connsiteX14" fmla="*/ 449068 w 684000"/>
                  <a:gd name="connsiteY14" fmla="*/ 380286 h 587043"/>
                  <a:gd name="connsiteX15" fmla="*/ 449068 w 684000"/>
                  <a:gd name="connsiteY15" fmla="*/ 308286 h 587043"/>
                  <a:gd name="connsiteX16" fmla="*/ 241136 w 684000"/>
                  <a:gd name="connsiteY16" fmla="*/ 308286 h 587043"/>
                  <a:gd name="connsiteX17" fmla="*/ 241136 w 684000"/>
                  <a:gd name="connsiteY17" fmla="*/ 380286 h 587043"/>
                  <a:gd name="connsiteX18" fmla="*/ 313136 w 684000"/>
                  <a:gd name="connsiteY18" fmla="*/ 380286 h 587043"/>
                  <a:gd name="connsiteX19" fmla="*/ 313136 w 684000"/>
                  <a:gd name="connsiteY19" fmla="*/ 308286 h 587043"/>
                  <a:gd name="connsiteX20" fmla="*/ 88736 w 684000"/>
                  <a:gd name="connsiteY20" fmla="*/ 272286 h 587043"/>
                  <a:gd name="connsiteX21" fmla="*/ 88736 w 684000"/>
                  <a:gd name="connsiteY21" fmla="*/ 344286 h 587043"/>
                  <a:gd name="connsiteX22" fmla="*/ 160736 w 684000"/>
                  <a:gd name="connsiteY22" fmla="*/ 344286 h 587043"/>
                  <a:gd name="connsiteX23" fmla="*/ 160736 w 684000"/>
                  <a:gd name="connsiteY23" fmla="*/ 272286 h 587043"/>
                  <a:gd name="connsiteX24" fmla="*/ 530459 w 684000"/>
                  <a:gd name="connsiteY24" fmla="*/ 263888 h 587043"/>
                  <a:gd name="connsiteX25" fmla="*/ 530459 w 684000"/>
                  <a:gd name="connsiteY25" fmla="*/ 335888 h 587043"/>
                  <a:gd name="connsiteX26" fmla="*/ 602459 w 684000"/>
                  <a:gd name="connsiteY26" fmla="*/ 335888 h 587043"/>
                  <a:gd name="connsiteX27" fmla="*/ 602459 w 684000"/>
                  <a:gd name="connsiteY27" fmla="*/ 263888 h 587043"/>
                  <a:gd name="connsiteX28" fmla="*/ 377068 w 684000"/>
                  <a:gd name="connsiteY28" fmla="*/ 192671 h 587043"/>
                  <a:gd name="connsiteX29" fmla="*/ 377068 w 684000"/>
                  <a:gd name="connsiteY29" fmla="*/ 264671 h 587043"/>
                  <a:gd name="connsiteX30" fmla="*/ 449068 w 684000"/>
                  <a:gd name="connsiteY30" fmla="*/ 264671 h 587043"/>
                  <a:gd name="connsiteX31" fmla="*/ 449068 w 684000"/>
                  <a:gd name="connsiteY31" fmla="*/ 192671 h 587043"/>
                  <a:gd name="connsiteX32" fmla="*/ 241136 w 684000"/>
                  <a:gd name="connsiteY32" fmla="*/ 192671 h 587043"/>
                  <a:gd name="connsiteX33" fmla="*/ 241136 w 684000"/>
                  <a:gd name="connsiteY33" fmla="*/ 264671 h 587043"/>
                  <a:gd name="connsiteX34" fmla="*/ 313136 w 684000"/>
                  <a:gd name="connsiteY34" fmla="*/ 264671 h 587043"/>
                  <a:gd name="connsiteX35" fmla="*/ 313136 w 684000"/>
                  <a:gd name="connsiteY35" fmla="*/ 192671 h 587043"/>
                  <a:gd name="connsiteX36" fmla="*/ 88736 w 684000"/>
                  <a:gd name="connsiteY36" fmla="*/ 154538 h 587043"/>
                  <a:gd name="connsiteX37" fmla="*/ 88736 w 684000"/>
                  <a:gd name="connsiteY37" fmla="*/ 226538 h 587043"/>
                  <a:gd name="connsiteX38" fmla="*/ 160736 w 684000"/>
                  <a:gd name="connsiteY38" fmla="*/ 226538 h 587043"/>
                  <a:gd name="connsiteX39" fmla="*/ 160736 w 684000"/>
                  <a:gd name="connsiteY39" fmla="*/ 154538 h 587043"/>
                  <a:gd name="connsiteX40" fmla="*/ 530459 w 684000"/>
                  <a:gd name="connsiteY40" fmla="*/ 146140 h 587043"/>
                  <a:gd name="connsiteX41" fmla="*/ 530459 w 684000"/>
                  <a:gd name="connsiteY41" fmla="*/ 218140 h 587043"/>
                  <a:gd name="connsiteX42" fmla="*/ 602459 w 684000"/>
                  <a:gd name="connsiteY42" fmla="*/ 218140 h 587043"/>
                  <a:gd name="connsiteX43" fmla="*/ 602459 w 684000"/>
                  <a:gd name="connsiteY43" fmla="*/ 146140 h 587043"/>
                  <a:gd name="connsiteX44" fmla="*/ 377068 w 684000"/>
                  <a:gd name="connsiteY44" fmla="*/ 74923 h 587043"/>
                  <a:gd name="connsiteX45" fmla="*/ 377068 w 684000"/>
                  <a:gd name="connsiteY45" fmla="*/ 146923 h 587043"/>
                  <a:gd name="connsiteX46" fmla="*/ 449068 w 684000"/>
                  <a:gd name="connsiteY46" fmla="*/ 146923 h 587043"/>
                  <a:gd name="connsiteX47" fmla="*/ 449068 w 684000"/>
                  <a:gd name="connsiteY47" fmla="*/ 74923 h 587043"/>
                  <a:gd name="connsiteX48" fmla="*/ 241136 w 684000"/>
                  <a:gd name="connsiteY48" fmla="*/ 74923 h 587043"/>
                  <a:gd name="connsiteX49" fmla="*/ 241136 w 684000"/>
                  <a:gd name="connsiteY49" fmla="*/ 146923 h 587043"/>
                  <a:gd name="connsiteX50" fmla="*/ 313136 w 684000"/>
                  <a:gd name="connsiteY50" fmla="*/ 146923 h 587043"/>
                  <a:gd name="connsiteX51" fmla="*/ 313136 w 684000"/>
                  <a:gd name="connsiteY51" fmla="*/ 74923 h 587043"/>
                  <a:gd name="connsiteX52" fmla="*/ 233440 w 684000"/>
                  <a:gd name="connsiteY52" fmla="*/ 0 h 587043"/>
                  <a:gd name="connsiteX53" fmla="*/ 458554 w 684000"/>
                  <a:gd name="connsiteY53" fmla="*/ 0 h 587043"/>
                  <a:gd name="connsiteX54" fmla="*/ 486947 w 684000"/>
                  <a:gd name="connsiteY54" fmla="*/ 28393 h 587043"/>
                  <a:gd name="connsiteX55" fmla="*/ 486947 w 684000"/>
                  <a:gd name="connsiteY55" fmla="*/ 92454 h 587043"/>
                  <a:gd name="connsiteX56" fmla="*/ 613061 w 684000"/>
                  <a:gd name="connsiteY56" fmla="*/ 92454 h 587043"/>
                  <a:gd name="connsiteX57" fmla="*/ 662231 w 684000"/>
                  <a:gd name="connsiteY57" fmla="*/ 141624 h 587043"/>
                  <a:gd name="connsiteX58" fmla="*/ 662231 w 684000"/>
                  <a:gd name="connsiteY58" fmla="*/ 531468 h 587043"/>
                  <a:gd name="connsiteX59" fmla="*/ 658149 w 684000"/>
                  <a:gd name="connsiteY59" fmla="*/ 541324 h 587043"/>
                  <a:gd name="connsiteX60" fmla="*/ 662932 w 684000"/>
                  <a:gd name="connsiteY60" fmla="*/ 541324 h 587043"/>
                  <a:gd name="connsiteX61" fmla="*/ 684000 w 684000"/>
                  <a:gd name="connsiteY61" fmla="*/ 562392 h 587043"/>
                  <a:gd name="connsiteX62" fmla="*/ 684000 w 684000"/>
                  <a:gd name="connsiteY62" fmla="*/ 565975 h 587043"/>
                  <a:gd name="connsiteX63" fmla="*/ 662932 w 684000"/>
                  <a:gd name="connsiteY63" fmla="*/ 587043 h 587043"/>
                  <a:gd name="connsiteX64" fmla="*/ 21068 w 684000"/>
                  <a:gd name="connsiteY64" fmla="*/ 587043 h 587043"/>
                  <a:gd name="connsiteX65" fmla="*/ 0 w 684000"/>
                  <a:gd name="connsiteY65" fmla="*/ 565975 h 587043"/>
                  <a:gd name="connsiteX66" fmla="*/ 0 w 684000"/>
                  <a:gd name="connsiteY66" fmla="*/ 562392 h 587043"/>
                  <a:gd name="connsiteX67" fmla="*/ 21068 w 684000"/>
                  <a:gd name="connsiteY67" fmla="*/ 541324 h 587043"/>
                  <a:gd name="connsiteX68" fmla="*/ 34494 w 684000"/>
                  <a:gd name="connsiteY68" fmla="*/ 541324 h 587043"/>
                  <a:gd name="connsiteX69" fmla="*/ 30411 w 684000"/>
                  <a:gd name="connsiteY69" fmla="*/ 531468 h 587043"/>
                  <a:gd name="connsiteX70" fmla="*/ 30411 w 684000"/>
                  <a:gd name="connsiteY70" fmla="*/ 141624 h 587043"/>
                  <a:gd name="connsiteX71" fmla="*/ 79581 w 684000"/>
                  <a:gd name="connsiteY71" fmla="*/ 92454 h 587043"/>
                  <a:gd name="connsiteX72" fmla="*/ 205047 w 684000"/>
                  <a:gd name="connsiteY72" fmla="*/ 92454 h 587043"/>
                  <a:gd name="connsiteX73" fmla="*/ 205047 w 684000"/>
                  <a:gd name="connsiteY73" fmla="*/ 28393 h 587043"/>
                  <a:gd name="connsiteX74" fmla="*/ 233440 w 684000"/>
                  <a:gd name="connsiteY74" fmla="*/ 0 h 587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684000" h="587043">
                    <a:moveTo>
                      <a:pt x="284797" y="401994"/>
                    </a:moveTo>
                    <a:lnTo>
                      <a:pt x="284797" y="554201"/>
                    </a:lnTo>
                    <a:lnTo>
                      <a:pt x="409656" y="554201"/>
                    </a:lnTo>
                    <a:lnTo>
                      <a:pt x="409656" y="401994"/>
                    </a:lnTo>
                    <a:close/>
                    <a:moveTo>
                      <a:pt x="88736" y="387901"/>
                    </a:moveTo>
                    <a:lnTo>
                      <a:pt x="88736" y="459901"/>
                    </a:lnTo>
                    <a:lnTo>
                      <a:pt x="160736" y="459901"/>
                    </a:lnTo>
                    <a:lnTo>
                      <a:pt x="160736" y="387901"/>
                    </a:lnTo>
                    <a:close/>
                    <a:moveTo>
                      <a:pt x="530459" y="379503"/>
                    </a:moveTo>
                    <a:lnTo>
                      <a:pt x="530459" y="451503"/>
                    </a:lnTo>
                    <a:lnTo>
                      <a:pt x="602459" y="451503"/>
                    </a:lnTo>
                    <a:lnTo>
                      <a:pt x="602459" y="379503"/>
                    </a:lnTo>
                    <a:close/>
                    <a:moveTo>
                      <a:pt x="377068" y="308286"/>
                    </a:moveTo>
                    <a:lnTo>
                      <a:pt x="377068" y="380286"/>
                    </a:lnTo>
                    <a:lnTo>
                      <a:pt x="449068" y="380286"/>
                    </a:lnTo>
                    <a:lnTo>
                      <a:pt x="449068" y="308286"/>
                    </a:lnTo>
                    <a:close/>
                    <a:moveTo>
                      <a:pt x="241136" y="308286"/>
                    </a:moveTo>
                    <a:lnTo>
                      <a:pt x="241136" y="380286"/>
                    </a:lnTo>
                    <a:lnTo>
                      <a:pt x="313136" y="380286"/>
                    </a:lnTo>
                    <a:lnTo>
                      <a:pt x="313136" y="308286"/>
                    </a:lnTo>
                    <a:close/>
                    <a:moveTo>
                      <a:pt x="88736" y="272286"/>
                    </a:moveTo>
                    <a:lnTo>
                      <a:pt x="88736" y="344286"/>
                    </a:lnTo>
                    <a:lnTo>
                      <a:pt x="160736" y="344286"/>
                    </a:lnTo>
                    <a:lnTo>
                      <a:pt x="160736" y="272286"/>
                    </a:lnTo>
                    <a:close/>
                    <a:moveTo>
                      <a:pt x="530459" y="263888"/>
                    </a:moveTo>
                    <a:lnTo>
                      <a:pt x="530459" y="335888"/>
                    </a:lnTo>
                    <a:lnTo>
                      <a:pt x="602459" y="335888"/>
                    </a:lnTo>
                    <a:lnTo>
                      <a:pt x="602459" y="263888"/>
                    </a:lnTo>
                    <a:close/>
                    <a:moveTo>
                      <a:pt x="377068" y="192671"/>
                    </a:moveTo>
                    <a:lnTo>
                      <a:pt x="377068" y="264671"/>
                    </a:lnTo>
                    <a:lnTo>
                      <a:pt x="449068" y="264671"/>
                    </a:lnTo>
                    <a:lnTo>
                      <a:pt x="449068" y="192671"/>
                    </a:lnTo>
                    <a:close/>
                    <a:moveTo>
                      <a:pt x="241136" y="192671"/>
                    </a:moveTo>
                    <a:lnTo>
                      <a:pt x="241136" y="264671"/>
                    </a:lnTo>
                    <a:lnTo>
                      <a:pt x="313136" y="264671"/>
                    </a:lnTo>
                    <a:lnTo>
                      <a:pt x="313136" y="192671"/>
                    </a:lnTo>
                    <a:close/>
                    <a:moveTo>
                      <a:pt x="88736" y="154538"/>
                    </a:moveTo>
                    <a:lnTo>
                      <a:pt x="88736" y="226538"/>
                    </a:lnTo>
                    <a:lnTo>
                      <a:pt x="160736" y="226538"/>
                    </a:lnTo>
                    <a:lnTo>
                      <a:pt x="160736" y="154538"/>
                    </a:lnTo>
                    <a:close/>
                    <a:moveTo>
                      <a:pt x="530459" y="146140"/>
                    </a:moveTo>
                    <a:lnTo>
                      <a:pt x="530459" y="218140"/>
                    </a:lnTo>
                    <a:lnTo>
                      <a:pt x="602459" y="218140"/>
                    </a:lnTo>
                    <a:lnTo>
                      <a:pt x="602459" y="146140"/>
                    </a:lnTo>
                    <a:close/>
                    <a:moveTo>
                      <a:pt x="377068" y="74923"/>
                    </a:moveTo>
                    <a:lnTo>
                      <a:pt x="377068" y="146923"/>
                    </a:lnTo>
                    <a:lnTo>
                      <a:pt x="449068" y="146923"/>
                    </a:lnTo>
                    <a:lnTo>
                      <a:pt x="449068" y="74923"/>
                    </a:lnTo>
                    <a:close/>
                    <a:moveTo>
                      <a:pt x="241136" y="74923"/>
                    </a:moveTo>
                    <a:lnTo>
                      <a:pt x="241136" y="146923"/>
                    </a:lnTo>
                    <a:lnTo>
                      <a:pt x="313136" y="146923"/>
                    </a:lnTo>
                    <a:lnTo>
                      <a:pt x="313136" y="74923"/>
                    </a:lnTo>
                    <a:close/>
                    <a:moveTo>
                      <a:pt x="233440" y="0"/>
                    </a:moveTo>
                    <a:lnTo>
                      <a:pt x="458554" y="0"/>
                    </a:lnTo>
                    <a:cubicBezTo>
                      <a:pt x="474235" y="0"/>
                      <a:pt x="486947" y="12712"/>
                      <a:pt x="486947" y="28393"/>
                    </a:cubicBezTo>
                    <a:lnTo>
                      <a:pt x="486947" y="92454"/>
                    </a:lnTo>
                    <a:lnTo>
                      <a:pt x="613061" y="92454"/>
                    </a:lnTo>
                    <a:cubicBezTo>
                      <a:pt x="640217" y="92454"/>
                      <a:pt x="662231" y="114468"/>
                      <a:pt x="662231" y="141624"/>
                    </a:cubicBezTo>
                    <a:lnTo>
                      <a:pt x="662231" y="531468"/>
                    </a:lnTo>
                    <a:lnTo>
                      <a:pt x="658149" y="541324"/>
                    </a:lnTo>
                    <a:lnTo>
                      <a:pt x="662932" y="541324"/>
                    </a:lnTo>
                    <a:cubicBezTo>
                      <a:pt x="674568" y="541324"/>
                      <a:pt x="684000" y="550756"/>
                      <a:pt x="684000" y="562392"/>
                    </a:cubicBezTo>
                    <a:lnTo>
                      <a:pt x="684000" y="565975"/>
                    </a:lnTo>
                    <a:cubicBezTo>
                      <a:pt x="684000" y="577611"/>
                      <a:pt x="674568" y="587043"/>
                      <a:pt x="662932" y="587043"/>
                    </a:cubicBezTo>
                    <a:lnTo>
                      <a:pt x="21068" y="587043"/>
                    </a:lnTo>
                    <a:cubicBezTo>
                      <a:pt x="9432" y="587043"/>
                      <a:pt x="0" y="577611"/>
                      <a:pt x="0" y="565975"/>
                    </a:cubicBezTo>
                    <a:lnTo>
                      <a:pt x="0" y="562392"/>
                    </a:lnTo>
                    <a:cubicBezTo>
                      <a:pt x="0" y="550756"/>
                      <a:pt x="9432" y="541324"/>
                      <a:pt x="21068" y="541324"/>
                    </a:cubicBezTo>
                    <a:lnTo>
                      <a:pt x="34494" y="541324"/>
                    </a:lnTo>
                    <a:lnTo>
                      <a:pt x="30411" y="531468"/>
                    </a:lnTo>
                    <a:lnTo>
                      <a:pt x="30411" y="141624"/>
                    </a:lnTo>
                    <a:cubicBezTo>
                      <a:pt x="30411" y="114468"/>
                      <a:pt x="52425" y="92454"/>
                      <a:pt x="79581" y="92454"/>
                    </a:cubicBezTo>
                    <a:lnTo>
                      <a:pt x="205047" y="92454"/>
                    </a:lnTo>
                    <a:lnTo>
                      <a:pt x="205047" y="28393"/>
                    </a:lnTo>
                    <a:cubicBezTo>
                      <a:pt x="205047" y="12712"/>
                      <a:pt x="217759" y="0"/>
                      <a:pt x="233440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nl-BE"/>
              </a:p>
            </p:txBody>
          </p:sp>
          <p:sp>
            <p:nvSpPr>
              <p:cNvPr id="71" name="Freeform 70">
                <a:extLst>
                  <a:ext uri="{FF2B5EF4-FFF2-40B4-BE49-F238E27FC236}">
                    <a16:creationId xmlns:a16="http://schemas.microsoft.com/office/drawing/2014/main" id="{400C2453-8548-0C43-AFBA-4F298512A347}"/>
                  </a:ext>
                </a:extLst>
              </p:cNvPr>
              <p:cNvSpPr/>
              <p:nvPr/>
            </p:nvSpPr>
            <p:spPr>
              <a:xfrm>
                <a:off x="3174945" y="865345"/>
                <a:ext cx="617091" cy="467004"/>
              </a:xfrm>
              <a:custGeom>
                <a:avLst/>
                <a:gdLst>
                  <a:gd name="connsiteX0" fmla="*/ 52792 w 617091"/>
                  <a:gd name="connsiteY0" fmla="*/ 336736 h 467004"/>
                  <a:gd name="connsiteX1" fmla="*/ 52792 w 617091"/>
                  <a:gd name="connsiteY1" fmla="*/ 466065 h 467004"/>
                  <a:gd name="connsiteX2" fmla="*/ 139074 w 617091"/>
                  <a:gd name="connsiteY2" fmla="*/ 466065 h 467004"/>
                  <a:gd name="connsiteX3" fmla="*/ 139074 w 617091"/>
                  <a:gd name="connsiteY3" fmla="*/ 336736 h 467004"/>
                  <a:gd name="connsiteX4" fmla="*/ 466706 w 617091"/>
                  <a:gd name="connsiteY4" fmla="*/ 334057 h 467004"/>
                  <a:gd name="connsiteX5" fmla="*/ 466706 w 617091"/>
                  <a:gd name="connsiteY5" fmla="*/ 406057 h 467004"/>
                  <a:gd name="connsiteX6" fmla="*/ 538706 w 617091"/>
                  <a:gd name="connsiteY6" fmla="*/ 406057 h 467004"/>
                  <a:gd name="connsiteX7" fmla="*/ 538706 w 617091"/>
                  <a:gd name="connsiteY7" fmla="*/ 334057 h 467004"/>
                  <a:gd name="connsiteX8" fmla="*/ 376189 w 617091"/>
                  <a:gd name="connsiteY8" fmla="*/ 334057 h 467004"/>
                  <a:gd name="connsiteX9" fmla="*/ 376189 w 617091"/>
                  <a:gd name="connsiteY9" fmla="*/ 406057 h 467004"/>
                  <a:gd name="connsiteX10" fmla="*/ 448189 w 617091"/>
                  <a:gd name="connsiteY10" fmla="*/ 406057 h 467004"/>
                  <a:gd name="connsiteX11" fmla="*/ 448189 w 617091"/>
                  <a:gd name="connsiteY11" fmla="*/ 334057 h 467004"/>
                  <a:gd name="connsiteX12" fmla="*/ 285671 w 617091"/>
                  <a:gd name="connsiteY12" fmla="*/ 334057 h 467004"/>
                  <a:gd name="connsiteX13" fmla="*/ 285671 w 617091"/>
                  <a:gd name="connsiteY13" fmla="*/ 406057 h 467004"/>
                  <a:gd name="connsiteX14" fmla="*/ 357671 w 617091"/>
                  <a:gd name="connsiteY14" fmla="*/ 406057 h 467004"/>
                  <a:gd name="connsiteX15" fmla="*/ 357671 w 617091"/>
                  <a:gd name="connsiteY15" fmla="*/ 334057 h 467004"/>
                  <a:gd name="connsiteX16" fmla="*/ 195153 w 617091"/>
                  <a:gd name="connsiteY16" fmla="*/ 334057 h 467004"/>
                  <a:gd name="connsiteX17" fmla="*/ 195153 w 617091"/>
                  <a:gd name="connsiteY17" fmla="*/ 406057 h 467004"/>
                  <a:gd name="connsiteX18" fmla="*/ 267153 w 617091"/>
                  <a:gd name="connsiteY18" fmla="*/ 406057 h 467004"/>
                  <a:gd name="connsiteX19" fmla="*/ 267153 w 617091"/>
                  <a:gd name="connsiteY19" fmla="*/ 334057 h 467004"/>
                  <a:gd name="connsiteX20" fmla="*/ 466706 w 617091"/>
                  <a:gd name="connsiteY20" fmla="*/ 244322 h 467004"/>
                  <a:gd name="connsiteX21" fmla="*/ 466706 w 617091"/>
                  <a:gd name="connsiteY21" fmla="*/ 316322 h 467004"/>
                  <a:gd name="connsiteX22" fmla="*/ 538706 w 617091"/>
                  <a:gd name="connsiteY22" fmla="*/ 316322 h 467004"/>
                  <a:gd name="connsiteX23" fmla="*/ 538706 w 617091"/>
                  <a:gd name="connsiteY23" fmla="*/ 244322 h 467004"/>
                  <a:gd name="connsiteX24" fmla="*/ 376189 w 617091"/>
                  <a:gd name="connsiteY24" fmla="*/ 244322 h 467004"/>
                  <a:gd name="connsiteX25" fmla="*/ 376189 w 617091"/>
                  <a:gd name="connsiteY25" fmla="*/ 316322 h 467004"/>
                  <a:gd name="connsiteX26" fmla="*/ 448189 w 617091"/>
                  <a:gd name="connsiteY26" fmla="*/ 316322 h 467004"/>
                  <a:gd name="connsiteX27" fmla="*/ 448189 w 617091"/>
                  <a:gd name="connsiteY27" fmla="*/ 244322 h 467004"/>
                  <a:gd name="connsiteX28" fmla="*/ 285671 w 617091"/>
                  <a:gd name="connsiteY28" fmla="*/ 244322 h 467004"/>
                  <a:gd name="connsiteX29" fmla="*/ 285671 w 617091"/>
                  <a:gd name="connsiteY29" fmla="*/ 316322 h 467004"/>
                  <a:gd name="connsiteX30" fmla="*/ 357671 w 617091"/>
                  <a:gd name="connsiteY30" fmla="*/ 316322 h 467004"/>
                  <a:gd name="connsiteX31" fmla="*/ 357671 w 617091"/>
                  <a:gd name="connsiteY31" fmla="*/ 244322 h 467004"/>
                  <a:gd name="connsiteX32" fmla="*/ 195153 w 617091"/>
                  <a:gd name="connsiteY32" fmla="*/ 244322 h 467004"/>
                  <a:gd name="connsiteX33" fmla="*/ 195153 w 617091"/>
                  <a:gd name="connsiteY33" fmla="*/ 316322 h 467004"/>
                  <a:gd name="connsiteX34" fmla="*/ 267153 w 617091"/>
                  <a:gd name="connsiteY34" fmla="*/ 316322 h 467004"/>
                  <a:gd name="connsiteX35" fmla="*/ 267153 w 617091"/>
                  <a:gd name="connsiteY35" fmla="*/ 244322 h 467004"/>
                  <a:gd name="connsiteX36" fmla="*/ 617091 w 617091"/>
                  <a:gd name="connsiteY36" fmla="*/ 0 h 467004"/>
                  <a:gd name="connsiteX37" fmla="*/ 617091 w 617091"/>
                  <a:gd name="connsiteY37" fmla="*/ 169816 h 467004"/>
                  <a:gd name="connsiteX38" fmla="*/ 617091 w 617091"/>
                  <a:gd name="connsiteY38" fmla="*/ 173627 h 467004"/>
                  <a:gd name="connsiteX39" fmla="*/ 617091 w 617091"/>
                  <a:gd name="connsiteY39" fmla="*/ 467004 h 467004"/>
                  <a:gd name="connsiteX40" fmla="*/ 384 w 617091"/>
                  <a:gd name="connsiteY40" fmla="*/ 467004 h 467004"/>
                  <a:gd name="connsiteX41" fmla="*/ 384 w 617091"/>
                  <a:gd name="connsiteY41" fmla="*/ 173627 h 467004"/>
                  <a:gd name="connsiteX42" fmla="*/ 0 w 617091"/>
                  <a:gd name="connsiteY42" fmla="*/ 173627 h 467004"/>
                  <a:gd name="connsiteX43" fmla="*/ 384 w 617091"/>
                  <a:gd name="connsiteY43" fmla="*/ 173519 h 467004"/>
                  <a:gd name="connsiteX44" fmla="*/ 384 w 617091"/>
                  <a:gd name="connsiteY44" fmla="*/ 169816 h 467004"/>
                  <a:gd name="connsiteX45" fmla="*/ 13545 w 617091"/>
                  <a:gd name="connsiteY45" fmla="*/ 169816 h 467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617091" h="467004">
                    <a:moveTo>
                      <a:pt x="52792" y="336736"/>
                    </a:moveTo>
                    <a:lnTo>
                      <a:pt x="52792" y="466065"/>
                    </a:lnTo>
                    <a:lnTo>
                      <a:pt x="139074" y="466065"/>
                    </a:lnTo>
                    <a:lnTo>
                      <a:pt x="139074" y="336736"/>
                    </a:lnTo>
                    <a:close/>
                    <a:moveTo>
                      <a:pt x="466706" y="334057"/>
                    </a:moveTo>
                    <a:lnTo>
                      <a:pt x="466706" y="406057"/>
                    </a:lnTo>
                    <a:lnTo>
                      <a:pt x="538706" y="406057"/>
                    </a:lnTo>
                    <a:lnTo>
                      <a:pt x="538706" y="334057"/>
                    </a:lnTo>
                    <a:close/>
                    <a:moveTo>
                      <a:pt x="376189" y="334057"/>
                    </a:moveTo>
                    <a:lnTo>
                      <a:pt x="376189" y="406057"/>
                    </a:lnTo>
                    <a:lnTo>
                      <a:pt x="448189" y="406057"/>
                    </a:lnTo>
                    <a:lnTo>
                      <a:pt x="448189" y="334057"/>
                    </a:lnTo>
                    <a:close/>
                    <a:moveTo>
                      <a:pt x="285671" y="334057"/>
                    </a:moveTo>
                    <a:lnTo>
                      <a:pt x="285671" y="406057"/>
                    </a:lnTo>
                    <a:lnTo>
                      <a:pt x="357671" y="406057"/>
                    </a:lnTo>
                    <a:lnTo>
                      <a:pt x="357671" y="334057"/>
                    </a:lnTo>
                    <a:close/>
                    <a:moveTo>
                      <a:pt x="195153" y="334057"/>
                    </a:moveTo>
                    <a:lnTo>
                      <a:pt x="195153" y="406057"/>
                    </a:lnTo>
                    <a:lnTo>
                      <a:pt x="267153" y="406057"/>
                    </a:lnTo>
                    <a:lnTo>
                      <a:pt x="267153" y="334057"/>
                    </a:lnTo>
                    <a:close/>
                    <a:moveTo>
                      <a:pt x="466706" y="244322"/>
                    </a:moveTo>
                    <a:lnTo>
                      <a:pt x="466706" y="316322"/>
                    </a:lnTo>
                    <a:lnTo>
                      <a:pt x="538706" y="316322"/>
                    </a:lnTo>
                    <a:lnTo>
                      <a:pt x="538706" y="244322"/>
                    </a:lnTo>
                    <a:close/>
                    <a:moveTo>
                      <a:pt x="376189" y="244322"/>
                    </a:moveTo>
                    <a:lnTo>
                      <a:pt x="376189" y="316322"/>
                    </a:lnTo>
                    <a:lnTo>
                      <a:pt x="448189" y="316322"/>
                    </a:lnTo>
                    <a:lnTo>
                      <a:pt x="448189" y="244322"/>
                    </a:lnTo>
                    <a:close/>
                    <a:moveTo>
                      <a:pt x="285671" y="244322"/>
                    </a:moveTo>
                    <a:lnTo>
                      <a:pt x="285671" y="316322"/>
                    </a:lnTo>
                    <a:lnTo>
                      <a:pt x="357671" y="316322"/>
                    </a:lnTo>
                    <a:lnTo>
                      <a:pt x="357671" y="244322"/>
                    </a:lnTo>
                    <a:close/>
                    <a:moveTo>
                      <a:pt x="195153" y="244322"/>
                    </a:moveTo>
                    <a:lnTo>
                      <a:pt x="195153" y="316322"/>
                    </a:lnTo>
                    <a:lnTo>
                      <a:pt x="267153" y="316322"/>
                    </a:lnTo>
                    <a:lnTo>
                      <a:pt x="267153" y="244322"/>
                    </a:lnTo>
                    <a:close/>
                    <a:moveTo>
                      <a:pt x="617091" y="0"/>
                    </a:moveTo>
                    <a:lnTo>
                      <a:pt x="617091" y="169816"/>
                    </a:lnTo>
                    <a:lnTo>
                      <a:pt x="617091" y="173627"/>
                    </a:lnTo>
                    <a:lnTo>
                      <a:pt x="617091" y="467004"/>
                    </a:lnTo>
                    <a:lnTo>
                      <a:pt x="384" y="467004"/>
                    </a:lnTo>
                    <a:lnTo>
                      <a:pt x="384" y="173627"/>
                    </a:lnTo>
                    <a:lnTo>
                      <a:pt x="0" y="173627"/>
                    </a:lnTo>
                    <a:lnTo>
                      <a:pt x="384" y="173519"/>
                    </a:lnTo>
                    <a:lnTo>
                      <a:pt x="384" y="169816"/>
                    </a:lnTo>
                    <a:lnTo>
                      <a:pt x="13545" y="169816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nl-BE"/>
              </a:p>
            </p:txBody>
          </p:sp>
        </p:grpSp>
      </p:grpSp>
      <p:sp>
        <p:nvSpPr>
          <p:cNvPr id="77" name="Rounded Rectangle 143">
            <a:extLst>
              <a:ext uri="{FF2B5EF4-FFF2-40B4-BE49-F238E27FC236}">
                <a16:creationId xmlns:a16="http://schemas.microsoft.com/office/drawing/2014/main" id="{23AA9C99-C077-234C-A02E-15CB11BC2110}"/>
              </a:ext>
            </a:extLst>
          </p:cNvPr>
          <p:cNvSpPr>
            <a:spLocks noChangeAspect="1"/>
          </p:cNvSpPr>
          <p:nvPr/>
        </p:nvSpPr>
        <p:spPr>
          <a:xfrm>
            <a:off x="6676373" y="3158511"/>
            <a:ext cx="286365" cy="472058"/>
          </a:xfrm>
          <a:custGeom>
            <a:avLst/>
            <a:gdLst/>
            <a:ahLst/>
            <a:cxnLst/>
            <a:rect l="l" t="t" r="r" b="b"/>
            <a:pathLst>
              <a:path w="1057722" h="1743600">
                <a:moveTo>
                  <a:pt x="585225" y="982687"/>
                </a:moveTo>
                <a:lnTo>
                  <a:pt x="1057722" y="982687"/>
                </a:lnTo>
                <a:lnTo>
                  <a:pt x="1057722" y="1262302"/>
                </a:lnTo>
                <a:lnTo>
                  <a:pt x="585225" y="1262302"/>
                </a:lnTo>
                <a:close/>
                <a:moveTo>
                  <a:pt x="506440" y="335745"/>
                </a:moveTo>
                <a:cubicBezTo>
                  <a:pt x="531949" y="346729"/>
                  <a:pt x="555389" y="364846"/>
                  <a:pt x="574445" y="389719"/>
                </a:cubicBezTo>
                <a:cubicBezTo>
                  <a:pt x="673710" y="456012"/>
                  <a:pt x="770021" y="559831"/>
                  <a:pt x="847440" y="682402"/>
                </a:cubicBezTo>
                <a:cubicBezTo>
                  <a:pt x="863892" y="708448"/>
                  <a:pt x="879184" y="734857"/>
                  <a:pt x="891036" y="762610"/>
                </a:cubicBezTo>
                <a:cubicBezTo>
                  <a:pt x="893331" y="802075"/>
                  <a:pt x="886086" y="830348"/>
                  <a:pt x="867973" y="844129"/>
                </a:cubicBezTo>
                <a:cubicBezTo>
                  <a:pt x="873743" y="845568"/>
                  <a:pt x="878601" y="848860"/>
                  <a:pt x="883281" y="852625"/>
                </a:cubicBezTo>
                <a:cubicBezTo>
                  <a:pt x="914684" y="877894"/>
                  <a:pt x="932975" y="920574"/>
                  <a:pt x="931718" y="965645"/>
                </a:cubicBezTo>
                <a:lnTo>
                  <a:pt x="907238" y="964678"/>
                </a:lnTo>
                <a:cubicBezTo>
                  <a:pt x="908152" y="928863"/>
                  <a:pt x="894549" y="894869"/>
                  <a:pt x="871022" y="874177"/>
                </a:cubicBezTo>
                <a:cubicBezTo>
                  <a:pt x="861712" y="865989"/>
                  <a:pt x="851440" y="860381"/>
                  <a:pt x="840585" y="858133"/>
                </a:cubicBezTo>
                <a:cubicBezTo>
                  <a:pt x="830649" y="863588"/>
                  <a:pt x="818542" y="862879"/>
                  <a:pt x="805419" y="857855"/>
                </a:cubicBezTo>
                <a:cubicBezTo>
                  <a:pt x="791669" y="859787"/>
                  <a:pt x="778748" y="867047"/>
                  <a:pt x="767563" y="878278"/>
                </a:cubicBezTo>
                <a:cubicBezTo>
                  <a:pt x="745530" y="900403"/>
                  <a:pt x="733695" y="934620"/>
                  <a:pt x="735934" y="969725"/>
                </a:cubicBezTo>
                <a:lnTo>
                  <a:pt x="711545" y="972131"/>
                </a:lnTo>
                <a:cubicBezTo>
                  <a:pt x="708456" y="927811"/>
                  <a:pt x="724454" y="884648"/>
                  <a:pt x="754044" y="857462"/>
                </a:cubicBezTo>
                <a:lnTo>
                  <a:pt x="772206" y="845674"/>
                </a:lnTo>
                <a:cubicBezTo>
                  <a:pt x="766566" y="845175"/>
                  <a:pt x="761612" y="842677"/>
                  <a:pt x="756533" y="839926"/>
                </a:cubicBezTo>
                <a:lnTo>
                  <a:pt x="656608" y="660487"/>
                </a:lnTo>
                <a:lnTo>
                  <a:pt x="656608" y="915832"/>
                </a:lnTo>
                <a:lnTo>
                  <a:pt x="656352" y="917101"/>
                </a:lnTo>
                <a:lnTo>
                  <a:pt x="651711" y="917101"/>
                </a:lnTo>
                <a:cubicBezTo>
                  <a:pt x="655579" y="926034"/>
                  <a:pt x="656608" y="935792"/>
                  <a:pt x="656608" y="945836"/>
                </a:cubicBezTo>
                <a:lnTo>
                  <a:pt x="656608" y="964939"/>
                </a:lnTo>
                <a:lnTo>
                  <a:pt x="556478" y="964939"/>
                </a:lnTo>
                <a:lnTo>
                  <a:pt x="556478" y="1283972"/>
                </a:lnTo>
                <a:lnTo>
                  <a:pt x="656608" y="1283972"/>
                </a:lnTo>
                <a:lnTo>
                  <a:pt x="656608" y="1553149"/>
                </a:lnTo>
                <a:lnTo>
                  <a:pt x="656608" y="1618701"/>
                </a:lnTo>
                <a:cubicBezTo>
                  <a:pt x="656608" y="1687707"/>
                  <a:pt x="610682" y="1743600"/>
                  <a:pt x="554049" y="1743600"/>
                </a:cubicBezTo>
                <a:cubicBezTo>
                  <a:pt x="497416" y="1743600"/>
                  <a:pt x="451491" y="1687707"/>
                  <a:pt x="451491" y="1618701"/>
                </a:cubicBezTo>
                <a:lnTo>
                  <a:pt x="451491" y="1553149"/>
                </a:lnTo>
                <a:lnTo>
                  <a:pt x="451491" y="1126461"/>
                </a:lnTo>
                <a:lnTo>
                  <a:pt x="447449" y="1127373"/>
                </a:lnTo>
                <a:lnTo>
                  <a:pt x="447449" y="1558926"/>
                </a:lnTo>
                <a:lnTo>
                  <a:pt x="447449" y="1622029"/>
                </a:lnTo>
                <a:cubicBezTo>
                  <a:pt x="447449" y="1688455"/>
                  <a:pt x="400665" y="1742260"/>
                  <a:pt x="342973" y="1742260"/>
                </a:cubicBezTo>
                <a:cubicBezTo>
                  <a:pt x="285282" y="1742260"/>
                  <a:pt x="238498" y="1688455"/>
                  <a:pt x="238498" y="1622029"/>
                </a:cubicBezTo>
                <a:lnTo>
                  <a:pt x="238498" y="1558926"/>
                </a:lnTo>
                <a:lnTo>
                  <a:pt x="238498" y="1021011"/>
                </a:lnTo>
                <a:lnTo>
                  <a:pt x="238498" y="974309"/>
                </a:lnTo>
                <a:lnTo>
                  <a:pt x="244225" y="942555"/>
                </a:lnTo>
                <a:cubicBezTo>
                  <a:pt x="240491" y="934417"/>
                  <a:pt x="238499" y="925357"/>
                  <a:pt x="238499" y="915832"/>
                </a:cubicBezTo>
                <a:lnTo>
                  <a:pt x="238499" y="674267"/>
                </a:lnTo>
                <a:lnTo>
                  <a:pt x="142741" y="854739"/>
                </a:lnTo>
                <a:cubicBezTo>
                  <a:pt x="52037" y="902914"/>
                  <a:pt x="-1825" y="871891"/>
                  <a:pt x="47" y="774258"/>
                </a:cubicBezTo>
                <a:cubicBezTo>
                  <a:pt x="11209" y="746129"/>
                  <a:pt x="25997" y="719414"/>
                  <a:pt x="42001" y="693083"/>
                </a:cubicBezTo>
                <a:cubicBezTo>
                  <a:pt x="118066" y="567936"/>
                  <a:pt x="214903" y="462522"/>
                  <a:pt x="316129" y="396232"/>
                </a:cubicBezTo>
                <a:cubicBezTo>
                  <a:pt x="335772" y="367956"/>
                  <a:pt x="361002" y="347657"/>
                  <a:pt x="388663" y="335746"/>
                </a:cubicBezTo>
                <a:lnTo>
                  <a:pt x="444395" y="403359"/>
                </a:lnTo>
                <a:lnTo>
                  <a:pt x="414722" y="581563"/>
                </a:lnTo>
                <a:lnTo>
                  <a:pt x="415153" y="581563"/>
                </a:lnTo>
                <a:lnTo>
                  <a:pt x="382753" y="765327"/>
                </a:lnTo>
                <a:lnTo>
                  <a:pt x="382754" y="765327"/>
                </a:lnTo>
                <a:lnTo>
                  <a:pt x="447554" y="935100"/>
                </a:lnTo>
                <a:lnTo>
                  <a:pt x="457971" y="907809"/>
                </a:lnTo>
                <a:cubicBezTo>
                  <a:pt x="458670" y="900479"/>
                  <a:pt x="461149" y="893784"/>
                  <a:pt x="465498" y="888087"/>
                </a:cubicBezTo>
                <a:lnTo>
                  <a:pt x="512354" y="765327"/>
                </a:lnTo>
                <a:lnTo>
                  <a:pt x="512353" y="765327"/>
                </a:lnTo>
                <a:lnTo>
                  <a:pt x="479953" y="581563"/>
                </a:lnTo>
                <a:lnTo>
                  <a:pt x="480386" y="581563"/>
                </a:lnTo>
                <a:lnTo>
                  <a:pt x="450712" y="403352"/>
                </a:lnTo>
                <a:close/>
                <a:moveTo>
                  <a:pt x="451492" y="0"/>
                </a:moveTo>
                <a:cubicBezTo>
                  <a:pt x="540648" y="0"/>
                  <a:pt x="612924" y="75990"/>
                  <a:pt x="612924" y="169728"/>
                </a:cubicBezTo>
                <a:cubicBezTo>
                  <a:pt x="612924" y="263466"/>
                  <a:pt x="540648" y="339456"/>
                  <a:pt x="451492" y="339456"/>
                </a:cubicBezTo>
                <a:cubicBezTo>
                  <a:pt x="362336" y="339456"/>
                  <a:pt x="290060" y="263466"/>
                  <a:pt x="290060" y="169728"/>
                </a:cubicBezTo>
                <a:cubicBezTo>
                  <a:pt x="290060" y="75990"/>
                  <a:pt x="362336" y="0"/>
                  <a:pt x="45149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E99E0EA1-D407-8D4D-9AC9-1B5EBB5D7CE0}"/>
              </a:ext>
            </a:extLst>
          </p:cNvPr>
          <p:cNvGrpSpPr>
            <a:grpSpLocks noChangeAspect="1"/>
          </p:cNvGrpSpPr>
          <p:nvPr/>
        </p:nvGrpSpPr>
        <p:grpSpPr>
          <a:xfrm>
            <a:off x="6775304" y="3123432"/>
            <a:ext cx="251676" cy="194203"/>
            <a:chOff x="3228543" y="1001128"/>
            <a:chExt cx="1393799" cy="1075510"/>
          </a:xfrm>
          <a:solidFill>
            <a:schemeClr val="accent1"/>
          </a:solidFill>
        </p:grpSpPr>
        <p:sp>
          <p:nvSpPr>
            <p:cNvPr id="79" name="Chevron 78">
              <a:extLst>
                <a:ext uri="{FF2B5EF4-FFF2-40B4-BE49-F238E27FC236}">
                  <a16:creationId xmlns:a16="http://schemas.microsoft.com/office/drawing/2014/main" id="{CDB0ADB6-1906-F143-9F63-B0F420ED4AFC}"/>
                </a:ext>
              </a:extLst>
            </p:cNvPr>
            <p:cNvSpPr/>
            <p:nvPr/>
          </p:nvSpPr>
          <p:spPr bwMode="auto">
            <a:xfrm rot="16200000">
              <a:off x="3890821" y="1746596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0" name="Chevron 79">
              <a:extLst>
                <a:ext uri="{FF2B5EF4-FFF2-40B4-BE49-F238E27FC236}">
                  <a16:creationId xmlns:a16="http://schemas.microsoft.com/office/drawing/2014/main" id="{6E196FA2-A464-1344-AD5B-19AC74B8FD56}"/>
                </a:ext>
              </a:extLst>
            </p:cNvPr>
            <p:cNvSpPr/>
            <p:nvPr/>
          </p:nvSpPr>
          <p:spPr bwMode="auto">
            <a:xfrm rot="16200000">
              <a:off x="3890821" y="1696537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1" name="Chevron 80">
              <a:extLst>
                <a:ext uri="{FF2B5EF4-FFF2-40B4-BE49-F238E27FC236}">
                  <a16:creationId xmlns:a16="http://schemas.microsoft.com/office/drawing/2014/main" id="{FA58291E-8609-FD4F-9A85-E18118246F79}"/>
                </a:ext>
              </a:extLst>
            </p:cNvPr>
            <p:cNvSpPr/>
            <p:nvPr/>
          </p:nvSpPr>
          <p:spPr bwMode="auto">
            <a:xfrm rot="16200000">
              <a:off x="3890821" y="1646479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2" name="Chevron 81">
              <a:extLst>
                <a:ext uri="{FF2B5EF4-FFF2-40B4-BE49-F238E27FC236}">
                  <a16:creationId xmlns:a16="http://schemas.microsoft.com/office/drawing/2014/main" id="{F21C6662-B991-1940-A63F-D42A67DA75D0}"/>
                </a:ext>
              </a:extLst>
            </p:cNvPr>
            <p:cNvSpPr/>
            <p:nvPr/>
          </p:nvSpPr>
          <p:spPr bwMode="auto">
            <a:xfrm rot="16200000">
              <a:off x="3890821" y="1596415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3" name="Chevron 82">
              <a:extLst>
                <a:ext uri="{FF2B5EF4-FFF2-40B4-BE49-F238E27FC236}">
                  <a16:creationId xmlns:a16="http://schemas.microsoft.com/office/drawing/2014/main" id="{C8232566-8FDE-A54C-BBC8-9D9D14C6FBE0}"/>
                </a:ext>
              </a:extLst>
            </p:cNvPr>
            <p:cNvSpPr/>
            <p:nvPr/>
          </p:nvSpPr>
          <p:spPr bwMode="auto">
            <a:xfrm rot="16200000">
              <a:off x="3890821" y="1546351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4" name="Chevron 83">
              <a:extLst>
                <a:ext uri="{FF2B5EF4-FFF2-40B4-BE49-F238E27FC236}">
                  <a16:creationId xmlns:a16="http://schemas.microsoft.com/office/drawing/2014/main" id="{8D7864DD-F557-D342-89A0-3776F4F5BF49}"/>
                </a:ext>
              </a:extLst>
            </p:cNvPr>
            <p:cNvSpPr/>
            <p:nvPr/>
          </p:nvSpPr>
          <p:spPr bwMode="auto">
            <a:xfrm rot="16200000">
              <a:off x="3890821" y="1496286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5" name="Chevron 84">
              <a:extLst>
                <a:ext uri="{FF2B5EF4-FFF2-40B4-BE49-F238E27FC236}">
                  <a16:creationId xmlns:a16="http://schemas.microsoft.com/office/drawing/2014/main" id="{C7AC17D7-3BC4-C444-A412-2DDB11ED8DE5}"/>
                </a:ext>
              </a:extLst>
            </p:cNvPr>
            <p:cNvSpPr/>
            <p:nvPr/>
          </p:nvSpPr>
          <p:spPr bwMode="auto">
            <a:xfrm rot="16200000">
              <a:off x="3890821" y="1446222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6" name="Chevron 85">
              <a:extLst>
                <a:ext uri="{FF2B5EF4-FFF2-40B4-BE49-F238E27FC236}">
                  <a16:creationId xmlns:a16="http://schemas.microsoft.com/office/drawing/2014/main" id="{D8687A4C-F03D-924D-941A-1E2421892777}"/>
                </a:ext>
              </a:extLst>
            </p:cNvPr>
            <p:cNvSpPr/>
            <p:nvPr/>
          </p:nvSpPr>
          <p:spPr bwMode="auto">
            <a:xfrm rot="16200000">
              <a:off x="3890821" y="1396164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7" name="Chevron 86">
              <a:extLst>
                <a:ext uri="{FF2B5EF4-FFF2-40B4-BE49-F238E27FC236}">
                  <a16:creationId xmlns:a16="http://schemas.microsoft.com/office/drawing/2014/main" id="{A138F257-9AFE-094E-B43F-E1D846290E3C}"/>
                </a:ext>
              </a:extLst>
            </p:cNvPr>
            <p:cNvSpPr/>
            <p:nvPr/>
          </p:nvSpPr>
          <p:spPr bwMode="auto">
            <a:xfrm rot="16200000">
              <a:off x="3890821" y="1346100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8" name="Chevron 87">
              <a:extLst>
                <a:ext uri="{FF2B5EF4-FFF2-40B4-BE49-F238E27FC236}">
                  <a16:creationId xmlns:a16="http://schemas.microsoft.com/office/drawing/2014/main" id="{214883DD-B400-924C-8A75-22EFCE7E1474}"/>
                </a:ext>
              </a:extLst>
            </p:cNvPr>
            <p:cNvSpPr/>
            <p:nvPr/>
          </p:nvSpPr>
          <p:spPr bwMode="auto">
            <a:xfrm rot="16200000">
              <a:off x="3890821" y="1296036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9" name="Chevron 88">
              <a:extLst>
                <a:ext uri="{FF2B5EF4-FFF2-40B4-BE49-F238E27FC236}">
                  <a16:creationId xmlns:a16="http://schemas.microsoft.com/office/drawing/2014/main" id="{87881625-6D05-A445-A410-7A08BD2F6030}"/>
                </a:ext>
              </a:extLst>
            </p:cNvPr>
            <p:cNvSpPr/>
            <p:nvPr/>
          </p:nvSpPr>
          <p:spPr bwMode="auto">
            <a:xfrm rot="16200000">
              <a:off x="3890821" y="1245971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0" name="Chevron 89">
              <a:extLst>
                <a:ext uri="{FF2B5EF4-FFF2-40B4-BE49-F238E27FC236}">
                  <a16:creationId xmlns:a16="http://schemas.microsoft.com/office/drawing/2014/main" id="{F5F66ED2-0E7A-C34C-81D1-0F0440C5596F}"/>
                </a:ext>
              </a:extLst>
            </p:cNvPr>
            <p:cNvSpPr/>
            <p:nvPr/>
          </p:nvSpPr>
          <p:spPr bwMode="auto">
            <a:xfrm rot="16200000">
              <a:off x="3890821" y="1195913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1" name="Chevron 90">
              <a:extLst>
                <a:ext uri="{FF2B5EF4-FFF2-40B4-BE49-F238E27FC236}">
                  <a16:creationId xmlns:a16="http://schemas.microsoft.com/office/drawing/2014/main" id="{2F306DB2-872A-A942-A75D-01FBC6797453}"/>
                </a:ext>
              </a:extLst>
            </p:cNvPr>
            <p:cNvSpPr/>
            <p:nvPr/>
          </p:nvSpPr>
          <p:spPr bwMode="auto">
            <a:xfrm rot="16200000">
              <a:off x="3890821" y="1145849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2" name="Chevron 91">
              <a:extLst>
                <a:ext uri="{FF2B5EF4-FFF2-40B4-BE49-F238E27FC236}">
                  <a16:creationId xmlns:a16="http://schemas.microsoft.com/office/drawing/2014/main" id="{780B784E-4497-3446-B0BB-5E701ACD4BFE}"/>
                </a:ext>
              </a:extLst>
            </p:cNvPr>
            <p:cNvSpPr/>
            <p:nvPr/>
          </p:nvSpPr>
          <p:spPr bwMode="auto">
            <a:xfrm rot="16200000">
              <a:off x="3890821" y="1095785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3" name="Chevron 92">
              <a:extLst>
                <a:ext uri="{FF2B5EF4-FFF2-40B4-BE49-F238E27FC236}">
                  <a16:creationId xmlns:a16="http://schemas.microsoft.com/office/drawing/2014/main" id="{891854FE-A428-674C-87EB-4AB1E9E3B52A}"/>
                </a:ext>
              </a:extLst>
            </p:cNvPr>
            <p:cNvSpPr/>
            <p:nvPr/>
          </p:nvSpPr>
          <p:spPr bwMode="auto">
            <a:xfrm rot="16200000">
              <a:off x="3890821" y="1045720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4" name="Chevron 93">
              <a:extLst>
                <a:ext uri="{FF2B5EF4-FFF2-40B4-BE49-F238E27FC236}">
                  <a16:creationId xmlns:a16="http://schemas.microsoft.com/office/drawing/2014/main" id="{7FF45456-5B11-B848-9977-5849938C41C2}"/>
                </a:ext>
              </a:extLst>
            </p:cNvPr>
            <p:cNvSpPr/>
            <p:nvPr/>
          </p:nvSpPr>
          <p:spPr bwMode="auto">
            <a:xfrm rot="16200000">
              <a:off x="3890821" y="995656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5" name="Chevron 94">
              <a:extLst>
                <a:ext uri="{FF2B5EF4-FFF2-40B4-BE49-F238E27FC236}">
                  <a16:creationId xmlns:a16="http://schemas.microsoft.com/office/drawing/2014/main" id="{DD955BD2-22F0-3F4C-B31E-D2F29C451615}"/>
                </a:ext>
              </a:extLst>
            </p:cNvPr>
            <p:cNvSpPr/>
            <p:nvPr/>
          </p:nvSpPr>
          <p:spPr bwMode="auto">
            <a:xfrm rot="16200000">
              <a:off x="3890821" y="991382"/>
              <a:ext cx="72002" cy="324000"/>
            </a:xfrm>
            <a:prstGeom prst="chevron">
              <a:avLst>
                <a:gd name="adj" fmla="val 42063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6" name="Chevron 95">
              <a:extLst>
                <a:ext uri="{FF2B5EF4-FFF2-40B4-BE49-F238E27FC236}">
                  <a16:creationId xmlns:a16="http://schemas.microsoft.com/office/drawing/2014/main" id="{6E175C20-6AE3-5D43-8D86-2532E903BAEE}"/>
                </a:ext>
              </a:extLst>
            </p:cNvPr>
            <p:cNvSpPr/>
            <p:nvPr/>
          </p:nvSpPr>
          <p:spPr bwMode="auto">
            <a:xfrm rot="16200000">
              <a:off x="3890821" y="934041"/>
              <a:ext cx="72002" cy="324000"/>
            </a:xfrm>
            <a:prstGeom prst="chevron">
              <a:avLst>
                <a:gd name="adj" fmla="val 42063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7" name="Chevron 96">
              <a:extLst>
                <a:ext uri="{FF2B5EF4-FFF2-40B4-BE49-F238E27FC236}">
                  <a16:creationId xmlns:a16="http://schemas.microsoft.com/office/drawing/2014/main" id="{5178403A-C34B-E84F-A958-EB245F1A9EAB}"/>
                </a:ext>
              </a:extLst>
            </p:cNvPr>
            <p:cNvSpPr/>
            <p:nvPr/>
          </p:nvSpPr>
          <p:spPr bwMode="auto">
            <a:xfrm rot="16200000">
              <a:off x="3890821" y="875129"/>
              <a:ext cx="72002" cy="324000"/>
            </a:xfrm>
            <a:prstGeom prst="chevron">
              <a:avLst>
                <a:gd name="adj" fmla="val 42063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8" name="Chevron 97">
              <a:extLst>
                <a:ext uri="{FF2B5EF4-FFF2-40B4-BE49-F238E27FC236}">
                  <a16:creationId xmlns:a16="http://schemas.microsoft.com/office/drawing/2014/main" id="{EBA8BE1C-738E-184B-A9BA-7224700E5FA1}"/>
                </a:ext>
              </a:extLst>
            </p:cNvPr>
            <p:cNvSpPr/>
            <p:nvPr/>
          </p:nvSpPr>
          <p:spPr bwMode="auto">
            <a:xfrm rot="16200000">
              <a:off x="4368738" y="1746601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9" name="Chevron 98">
              <a:extLst>
                <a:ext uri="{FF2B5EF4-FFF2-40B4-BE49-F238E27FC236}">
                  <a16:creationId xmlns:a16="http://schemas.microsoft.com/office/drawing/2014/main" id="{4DA33232-123E-8D47-A939-D1592108D164}"/>
                </a:ext>
              </a:extLst>
            </p:cNvPr>
            <p:cNvSpPr/>
            <p:nvPr/>
          </p:nvSpPr>
          <p:spPr bwMode="auto">
            <a:xfrm rot="16200000">
              <a:off x="4368738" y="1696542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0" name="Chevron 99">
              <a:extLst>
                <a:ext uri="{FF2B5EF4-FFF2-40B4-BE49-F238E27FC236}">
                  <a16:creationId xmlns:a16="http://schemas.microsoft.com/office/drawing/2014/main" id="{C1336D0A-0D05-604D-A8CC-7890A3C57764}"/>
                </a:ext>
              </a:extLst>
            </p:cNvPr>
            <p:cNvSpPr/>
            <p:nvPr/>
          </p:nvSpPr>
          <p:spPr bwMode="auto">
            <a:xfrm rot="16200000">
              <a:off x="4368738" y="1646484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1" name="Chevron 100">
              <a:extLst>
                <a:ext uri="{FF2B5EF4-FFF2-40B4-BE49-F238E27FC236}">
                  <a16:creationId xmlns:a16="http://schemas.microsoft.com/office/drawing/2014/main" id="{22BA9566-83FA-9D47-80D9-69FA61BE86E0}"/>
                </a:ext>
              </a:extLst>
            </p:cNvPr>
            <p:cNvSpPr/>
            <p:nvPr/>
          </p:nvSpPr>
          <p:spPr bwMode="auto">
            <a:xfrm rot="16200000">
              <a:off x="4368738" y="1596419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2" name="Chevron 101">
              <a:extLst>
                <a:ext uri="{FF2B5EF4-FFF2-40B4-BE49-F238E27FC236}">
                  <a16:creationId xmlns:a16="http://schemas.microsoft.com/office/drawing/2014/main" id="{00D0BE8D-0A88-054E-9345-D5015E7A86BC}"/>
                </a:ext>
              </a:extLst>
            </p:cNvPr>
            <p:cNvSpPr/>
            <p:nvPr/>
          </p:nvSpPr>
          <p:spPr bwMode="auto">
            <a:xfrm rot="16200000">
              <a:off x="4368738" y="1546355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3" name="Chevron 102">
              <a:extLst>
                <a:ext uri="{FF2B5EF4-FFF2-40B4-BE49-F238E27FC236}">
                  <a16:creationId xmlns:a16="http://schemas.microsoft.com/office/drawing/2014/main" id="{2AB34DB2-F2EF-F947-BB7E-1798809811D4}"/>
                </a:ext>
              </a:extLst>
            </p:cNvPr>
            <p:cNvSpPr/>
            <p:nvPr/>
          </p:nvSpPr>
          <p:spPr bwMode="auto">
            <a:xfrm rot="16200000">
              <a:off x="4368738" y="1496291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4" name="Chevron 103">
              <a:extLst>
                <a:ext uri="{FF2B5EF4-FFF2-40B4-BE49-F238E27FC236}">
                  <a16:creationId xmlns:a16="http://schemas.microsoft.com/office/drawing/2014/main" id="{DA44B5B8-FE06-6F45-A2E1-E4F906D5E7CB}"/>
                </a:ext>
              </a:extLst>
            </p:cNvPr>
            <p:cNvSpPr/>
            <p:nvPr/>
          </p:nvSpPr>
          <p:spPr bwMode="auto">
            <a:xfrm rot="16200000">
              <a:off x="4368738" y="1446227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5" name="Chevron 104">
              <a:extLst>
                <a:ext uri="{FF2B5EF4-FFF2-40B4-BE49-F238E27FC236}">
                  <a16:creationId xmlns:a16="http://schemas.microsoft.com/office/drawing/2014/main" id="{5E7A4F2B-A812-6E44-AEBE-5333290FE16F}"/>
                </a:ext>
              </a:extLst>
            </p:cNvPr>
            <p:cNvSpPr/>
            <p:nvPr/>
          </p:nvSpPr>
          <p:spPr bwMode="auto">
            <a:xfrm rot="16200000">
              <a:off x="4368738" y="1396168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6" name="Chevron 105">
              <a:extLst>
                <a:ext uri="{FF2B5EF4-FFF2-40B4-BE49-F238E27FC236}">
                  <a16:creationId xmlns:a16="http://schemas.microsoft.com/office/drawing/2014/main" id="{744DF033-4F40-7743-A4B6-823AD4226A60}"/>
                </a:ext>
              </a:extLst>
            </p:cNvPr>
            <p:cNvSpPr/>
            <p:nvPr/>
          </p:nvSpPr>
          <p:spPr bwMode="auto">
            <a:xfrm rot="16200000">
              <a:off x="4368738" y="1346104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7" name="Chevron 106">
              <a:extLst>
                <a:ext uri="{FF2B5EF4-FFF2-40B4-BE49-F238E27FC236}">
                  <a16:creationId xmlns:a16="http://schemas.microsoft.com/office/drawing/2014/main" id="{DDC8CACA-71DA-3E43-8A50-CE20986E2E36}"/>
                </a:ext>
              </a:extLst>
            </p:cNvPr>
            <p:cNvSpPr/>
            <p:nvPr/>
          </p:nvSpPr>
          <p:spPr bwMode="auto">
            <a:xfrm rot="16200000">
              <a:off x="4368738" y="1296040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8" name="Chevron 107">
              <a:extLst>
                <a:ext uri="{FF2B5EF4-FFF2-40B4-BE49-F238E27FC236}">
                  <a16:creationId xmlns:a16="http://schemas.microsoft.com/office/drawing/2014/main" id="{01CF1D22-490C-3B4A-9A63-0B92BC6949FA}"/>
                </a:ext>
              </a:extLst>
            </p:cNvPr>
            <p:cNvSpPr/>
            <p:nvPr/>
          </p:nvSpPr>
          <p:spPr bwMode="auto">
            <a:xfrm rot="16200000">
              <a:off x="4368738" y="1245967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9" name="Chevron 108">
              <a:extLst>
                <a:ext uri="{FF2B5EF4-FFF2-40B4-BE49-F238E27FC236}">
                  <a16:creationId xmlns:a16="http://schemas.microsoft.com/office/drawing/2014/main" id="{37D21837-340E-A449-8F53-E44A43F3B88A}"/>
                </a:ext>
              </a:extLst>
            </p:cNvPr>
            <p:cNvSpPr/>
            <p:nvPr/>
          </p:nvSpPr>
          <p:spPr bwMode="auto">
            <a:xfrm rot="16200000">
              <a:off x="3412355" y="1746591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0" name="Chevron 109">
              <a:extLst>
                <a:ext uri="{FF2B5EF4-FFF2-40B4-BE49-F238E27FC236}">
                  <a16:creationId xmlns:a16="http://schemas.microsoft.com/office/drawing/2014/main" id="{C625F240-9104-594B-9C21-341BADBDC794}"/>
                </a:ext>
              </a:extLst>
            </p:cNvPr>
            <p:cNvSpPr/>
            <p:nvPr/>
          </p:nvSpPr>
          <p:spPr bwMode="auto">
            <a:xfrm rot="16200000">
              <a:off x="3412355" y="1696532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1" name="Chevron 110">
              <a:extLst>
                <a:ext uri="{FF2B5EF4-FFF2-40B4-BE49-F238E27FC236}">
                  <a16:creationId xmlns:a16="http://schemas.microsoft.com/office/drawing/2014/main" id="{6BCE1D15-A2A0-C44D-97F6-D387E72B1553}"/>
                </a:ext>
              </a:extLst>
            </p:cNvPr>
            <p:cNvSpPr/>
            <p:nvPr/>
          </p:nvSpPr>
          <p:spPr bwMode="auto">
            <a:xfrm rot="16200000">
              <a:off x="3412355" y="1646474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2" name="Chevron 111">
              <a:extLst>
                <a:ext uri="{FF2B5EF4-FFF2-40B4-BE49-F238E27FC236}">
                  <a16:creationId xmlns:a16="http://schemas.microsoft.com/office/drawing/2014/main" id="{84A62914-E43E-7E4E-B383-CF536DC0C075}"/>
                </a:ext>
              </a:extLst>
            </p:cNvPr>
            <p:cNvSpPr/>
            <p:nvPr/>
          </p:nvSpPr>
          <p:spPr bwMode="auto">
            <a:xfrm rot="16200000">
              <a:off x="3412355" y="1596410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3" name="Chevron 112">
              <a:extLst>
                <a:ext uri="{FF2B5EF4-FFF2-40B4-BE49-F238E27FC236}">
                  <a16:creationId xmlns:a16="http://schemas.microsoft.com/office/drawing/2014/main" id="{658E6548-39EE-0F49-8844-99A864E80F8A}"/>
                </a:ext>
              </a:extLst>
            </p:cNvPr>
            <p:cNvSpPr/>
            <p:nvPr/>
          </p:nvSpPr>
          <p:spPr bwMode="auto">
            <a:xfrm rot="16200000">
              <a:off x="3412355" y="1546346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4" name="Chevron 113">
              <a:extLst>
                <a:ext uri="{FF2B5EF4-FFF2-40B4-BE49-F238E27FC236}">
                  <a16:creationId xmlns:a16="http://schemas.microsoft.com/office/drawing/2014/main" id="{D130BB0D-08ED-D34B-8BA6-BC39EBDA0CB1}"/>
                </a:ext>
              </a:extLst>
            </p:cNvPr>
            <p:cNvSpPr/>
            <p:nvPr/>
          </p:nvSpPr>
          <p:spPr bwMode="auto">
            <a:xfrm rot="16200000">
              <a:off x="3412355" y="1496282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5" name="Chevron 114">
              <a:extLst>
                <a:ext uri="{FF2B5EF4-FFF2-40B4-BE49-F238E27FC236}">
                  <a16:creationId xmlns:a16="http://schemas.microsoft.com/office/drawing/2014/main" id="{C3CC6A03-F910-1C4E-9EFD-5080A7182932}"/>
                </a:ext>
              </a:extLst>
            </p:cNvPr>
            <p:cNvSpPr/>
            <p:nvPr/>
          </p:nvSpPr>
          <p:spPr bwMode="auto">
            <a:xfrm rot="16200000">
              <a:off x="3412355" y="1446218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6" name="Chevron 115">
              <a:extLst>
                <a:ext uri="{FF2B5EF4-FFF2-40B4-BE49-F238E27FC236}">
                  <a16:creationId xmlns:a16="http://schemas.microsoft.com/office/drawing/2014/main" id="{C030C21D-CC46-114C-B7DC-6EB334A7ABFE}"/>
                </a:ext>
              </a:extLst>
            </p:cNvPr>
            <p:cNvSpPr/>
            <p:nvPr/>
          </p:nvSpPr>
          <p:spPr bwMode="auto">
            <a:xfrm rot="16200000">
              <a:off x="3412354" y="1396167"/>
              <a:ext cx="72002" cy="43199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pPr algn="ctr"/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74194C36-BCFB-654F-BFAE-E35B7FB3BC41}"/>
                </a:ext>
              </a:extLst>
            </p:cNvPr>
            <p:cNvSpPr/>
            <p:nvPr/>
          </p:nvSpPr>
          <p:spPr bwMode="auto">
            <a:xfrm>
              <a:off x="3232354" y="2030918"/>
              <a:ext cx="1388382" cy="4572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8" name="Isosceles Triangle 274">
              <a:extLst>
                <a:ext uri="{FF2B5EF4-FFF2-40B4-BE49-F238E27FC236}">
                  <a16:creationId xmlns:a16="http://schemas.microsoft.com/office/drawing/2014/main" id="{6876EA73-CF69-4C4E-8F5C-A9F12137EBE9}"/>
                </a:ext>
              </a:extLst>
            </p:cNvPr>
            <p:cNvSpPr/>
            <p:nvPr/>
          </p:nvSpPr>
          <p:spPr bwMode="auto">
            <a:xfrm>
              <a:off x="3228543" y="1980078"/>
              <a:ext cx="441016" cy="45720"/>
            </a:xfrm>
            <a:prstGeom prst="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9" name="Isosceles Triangle 275">
              <a:extLst>
                <a:ext uri="{FF2B5EF4-FFF2-40B4-BE49-F238E27FC236}">
                  <a16:creationId xmlns:a16="http://schemas.microsoft.com/office/drawing/2014/main" id="{92E1E8D5-DABB-394D-B0DA-38C94C8312B3}"/>
                </a:ext>
              </a:extLst>
            </p:cNvPr>
            <p:cNvSpPr/>
            <p:nvPr/>
          </p:nvSpPr>
          <p:spPr bwMode="auto">
            <a:xfrm>
              <a:off x="3705026" y="1980083"/>
              <a:ext cx="441016" cy="45720"/>
            </a:xfrm>
            <a:prstGeom prst="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0" name="Isosceles Triangle 276">
              <a:extLst>
                <a:ext uri="{FF2B5EF4-FFF2-40B4-BE49-F238E27FC236}">
                  <a16:creationId xmlns:a16="http://schemas.microsoft.com/office/drawing/2014/main" id="{36744074-2CEC-F744-BC95-D678D7BF4D27}"/>
                </a:ext>
              </a:extLst>
            </p:cNvPr>
            <p:cNvSpPr/>
            <p:nvPr/>
          </p:nvSpPr>
          <p:spPr bwMode="auto">
            <a:xfrm>
              <a:off x="4181326" y="1980067"/>
              <a:ext cx="441016" cy="45720"/>
            </a:xfrm>
            <a:prstGeom prst="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0000" tIns="54000" rIns="90000" bIns="54000" rtlCol="0" anchor="ctr"/>
            <a:lstStyle/>
            <a:p>
              <a:endParaRPr lang="en-US" sz="1200" err="1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21" name="Rounded Rectangle 45">
            <a:extLst>
              <a:ext uri="{FF2B5EF4-FFF2-40B4-BE49-F238E27FC236}">
                <a16:creationId xmlns:a16="http://schemas.microsoft.com/office/drawing/2014/main" id="{9654433F-D7C5-4F44-AA1B-0C8E7FF67EC4}"/>
              </a:ext>
            </a:extLst>
          </p:cNvPr>
          <p:cNvSpPr/>
          <p:nvPr/>
        </p:nvSpPr>
        <p:spPr>
          <a:xfrm>
            <a:off x="5035958" y="4426105"/>
            <a:ext cx="438052" cy="485102"/>
          </a:xfrm>
          <a:custGeom>
            <a:avLst/>
            <a:gdLst/>
            <a:ahLst/>
            <a:cxnLst/>
            <a:rect l="l" t="t" r="r" b="b"/>
            <a:pathLst>
              <a:path w="593272" h="776661">
                <a:moveTo>
                  <a:pt x="296636" y="417648"/>
                </a:moveTo>
                <a:cubicBezTo>
                  <a:pt x="259916" y="417648"/>
                  <a:pt x="230148" y="442233"/>
                  <a:pt x="230148" y="472558"/>
                </a:cubicBezTo>
                <a:cubicBezTo>
                  <a:pt x="230148" y="488963"/>
                  <a:pt x="238858" y="503687"/>
                  <a:pt x="253014" y="513274"/>
                </a:cubicBezTo>
                <a:cubicBezTo>
                  <a:pt x="244912" y="514417"/>
                  <a:pt x="239364" y="521616"/>
                  <a:pt x="239364" y="530111"/>
                </a:cubicBezTo>
                <a:lnTo>
                  <a:pt x="239364" y="637551"/>
                </a:lnTo>
                <a:cubicBezTo>
                  <a:pt x="239364" y="648095"/>
                  <a:pt x="247911" y="656642"/>
                  <a:pt x="258455" y="656642"/>
                </a:cubicBezTo>
                <a:lnTo>
                  <a:pt x="334817" y="656642"/>
                </a:lnTo>
                <a:cubicBezTo>
                  <a:pt x="345361" y="656642"/>
                  <a:pt x="353908" y="648095"/>
                  <a:pt x="353908" y="637551"/>
                </a:cubicBezTo>
                <a:lnTo>
                  <a:pt x="353908" y="530111"/>
                </a:lnTo>
                <a:cubicBezTo>
                  <a:pt x="353908" y="521616"/>
                  <a:pt x="348360" y="514417"/>
                  <a:pt x="340259" y="513274"/>
                </a:cubicBezTo>
                <a:cubicBezTo>
                  <a:pt x="354414" y="503687"/>
                  <a:pt x="363124" y="488963"/>
                  <a:pt x="363124" y="472558"/>
                </a:cubicBezTo>
                <a:cubicBezTo>
                  <a:pt x="363124" y="442233"/>
                  <a:pt x="333357" y="417648"/>
                  <a:pt x="296636" y="417648"/>
                </a:cubicBezTo>
                <a:close/>
                <a:moveTo>
                  <a:pt x="294022" y="63238"/>
                </a:moveTo>
                <a:cubicBezTo>
                  <a:pt x="207080" y="65501"/>
                  <a:pt x="136678" y="177951"/>
                  <a:pt x="133238" y="319124"/>
                </a:cubicBezTo>
                <a:lnTo>
                  <a:pt x="460286" y="319124"/>
                </a:lnTo>
                <a:cubicBezTo>
                  <a:pt x="456462" y="174495"/>
                  <a:pt x="382903" y="60925"/>
                  <a:pt x="294022" y="63238"/>
                </a:cubicBezTo>
                <a:close/>
                <a:moveTo>
                  <a:pt x="293416" y="34"/>
                </a:moveTo>
                <a:cubicBezTo>
                  <a:pt x="417795" y="-2539"/>
                  <a:pt x="520353" y="141211"/>
                  <a:pt x="524552" y="322677"/>
                </a:cubicBezTo>
                <a:cubicBezTo>
                  <a:pt x="564099" y="329261"/>
                  <a:pt x="593272" y="359414"/>
                  <a:pt x="593272" y="395382"/>
                </a:cubicBezTo>
                <a:lnTo>
                  <a:pt x="593272" y="700403"/>
                </a:lnTo>
                <a:cubicBezTo>
                  <a:pt x="593272" y="742519"/>
                  <a:pt x="553275" y="776661"/>
                  <a:pt x="503936" y="776661"/>
                </a:cubicBezTo>
                <a:lnTo>
                  <a:pt x="89336" y="776661"/>
                </a:lnTo>
                <a:cubicBezTo>
                  <a:pt x="39997" y="776661"/>
                  <a:pt x="0" y="742519"/>
                  <a:pt x="0" y="700403"/>
                </a:cubicBezTo>
                <a:lnTo>
                  <a:pt x="0" y="395382"/>
                </a:lnTo>
                <a:cubicBezTo>
                  <a:pt x="0" y="359353"/>
                  <a:pt x="29272" y="329159"/>
                  <a:pt x="68919" y="322643"/>
                </a:cubicBezTo>
                <a:cubicBezTo>
                  <a:pt x="72810" y="145099"/>
                  <a:pt x="171395" y="2558"/>
                  <a:pt x="293416" y="3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Oval 122">
            <a:extLst>
              <a:ext uri="{FF2B5EF4-FFF2-40B4-BE49-F238E27FC236}">
                <a16:creationId xmlns:a16="http://schemas.microsoft.com/office/drawing/2014/main" id="{93A1AECF-8026-A040-815F-E52D59E9CC56}"/>
              </a:ext>
            </a:extLst>
          </p:cNvPr>
          <p:cNvSpPr/>
          <p:nvPr/>
        </p:nvSpPr>
        <p:spPr>
          <a:xfrm>
            <a:off x="6099738" y="4497479"/>
            <a:ext cx="576511" cy="385635"/>
          </a:xfrm>
          <a:custGeom>
            <a:avLst/>
            <a:gdLst/>
            <a:ahLst/>
            <a:cxnLst/>
            <a:rect l="l" t="t" r="r" b="b"/>
            <a:pathLst>
              <a:path w="648000" h="432000">
                <a:moveTo>
                  <a:pt x="216285" y="36000"/>
                </a:moveTo>
                <a:cubicBezTo>
                  <a:pt x="137521" y="36000"/>
                  <a:pt x="73670" y="95517"/>
                  <a:pt x="73670" y="168934"/>
                </a:cubicBezTo>
                <a:cubicBezTo>
                  <a:pt x="73670" y="173977"/>
                  <a:pt x="73971" y="178954"/>
                  <a:pt x="76841" y="183576"/>
                </a:cubicBezTo>
                <a:cubicBezTo>
                  <a:pt x="51496" y="207327"/>
                  <a:pt x="36000" y="240121"/>
                  <a:pt x="36000" y="276288"/>
                </a:cubicBezTo>
                <a:cubicBezTo>
                  <a:pt x="36000" y="349705"/>
                  <a:pt x="99851" y="409222"/>
                  <a:pt x="178615" y="409222"/>
                </a:cubicBezTo>
                <a:cubicBezTo>
                  <a:pt x="182734" y="409222"/>
                  <a:pt x="186812" y="409059"/>
                  <a:pt x="190757" y="407734"/>
                </a:cubicBezTo>
                <a:lnTo>
                  <a:pt x="199039" y="409221"/>
                </a:lnTo>
                <a:lnTo>
                  <a:pt x="464733" y="409221"/>
                </a:lnTo>
                <a:cubicBezTo>
                  <a:pt x="467837" y="409221"/>
                  <a:pt x="470889" y="409022"/>
                  <a:pt x="473741" y="407604"/>
                </a:cubicBezTo>
                <a:lnTo>
                  <a:pt x="485450" y="409222"/>
                </a:lnTo>
                <a:cubicBezTo>
                  <a:pt x="555341" y="409222"/>
                  <a:pt x="612000" y="349705"/>
                  <a:pt x="612000" y="276288"/>
                </a:cubicBezTo>
                <a:cubicBezTo>
                  <a:pt x="612000" y="202871"/>
                  <a:pt x="555341" y="143354"/>
                  <a:pt x="485450" y="143354"/>
                </a:cubicBezTo>
                <a:cubicBezTo>
                  <a:pt x="475535" y="143354"/>
                  <a:pt x="465886" y="144552"/>
                  <a:pt x="457240" y="149337"/>
                </a:cubicBezTo>
                <a:cubicBezTo>
                  <a:pt x="448321" y="110777"/>
                  <a:pt x="407547" y="82512"/>
                  <a:pt x="358899" y="82512"/>
                </a:cubicBezTo>
                <a:cubicBezTo>
                  <a:pt x="347498" y="82512"/>
                  <a:pt x="336529" y="84065"/>
                  <a:pt x="326568" y="87986"/>
                </a:cubicBezTo>
                <a:cubicBezTo>
                  <a:pt x="302111" y="55765"/>
                  <a:pt x="261674" y="36000"/>
                  <a:pt x="216285" y="36000"/>
                </a:cubicBezTo>
                <a:close/>
                <a:moveTo>
                  <a:pt x="202821" y="0"/>
                </a:moveTo>
                <a:cubicBezTo>
                  <a:pt x="253884" y="0"/>
                  <a:pt x="299375" y="22878"/>
                  <a:pt x="326889" y="60173"/>
                </a:cubicBezTo>
                <a:cubicBezTo>
                  <a:pt x="338095" y="55634"/>
                  <a:pt x="350435" y="53837"/>
                  <a:pt x="363262" y="53837"/>
                </a:cubicBezTo>
                <a:cubicBezTo>
                  <a:pt x="417990" y="53837"/>
                  <a:pt x="463861" y="86553"/>
                  <a:pt x="473895" y="131186"/>
                </a:cubicBezTo>
                <a:cubicBezTo>
                  <a:pt x="483622" y="125647"/>
                  <a:pt x="494477" y="124261"/>
                  <a:pt x="505631" y="124261"/>
                </a:cubicBezTo>
                <a:cubicBezTo>
                  <a:pt x="584259" y="124261"/>
                  <a:pt x="648000" y="193151"/>
                  <a:pt x="648000" y="278131"/>
                </a:cubicBezTo>
                <a:cubicBezTo>
                  <a:pt x="648000" y="363110"/>
                  <a:pt x="584259" y="432000"/>
                  <a:pt x="505631" y="432000"/>
                </a:cubicBezTo>
                <a:lnTo>
                  <a:pt x="492458" y="430127"/>
                </a:lnTo>
                <a:cubicBezTo>
                  <a:pt x="489250" y="431768"/>
                  <a:pt x="485817" y="431999"/>
                  <a:pt x="482325" y="431999"/>
                </a:cubicBezTo>
                <a:lnTo>
                  <a:pt x="183419" y="431999"/>
                </a:lnTo>
                <a:lnTo>
                  <a:pt x="174102" y="430278"/>
                </a:lnTo>
                <a:cubicBezTo>
                  <a:pt x="169663" y="431812"/>
                  <a:pt x="165076" y="432000"/>
                  <a:pt x="160442" y="432000"/>
                </a:cubicBezTo>
                <a:cubicBezTo>
                  <a:pt x="71833" y="432000"/>
                  <a:pt x="0" y="363110"/>
                  <a:pt x="0" y="278131"/>
                </a:cubicBezTo>
                <a:cubicBezTo>
                  <a:pt x="0" y="236267"/>
                  <a:pt x="17433" y="198309"/>
                  <a:pt x="45946" y="170817"/>
                </a:cubicBezTo>
                <a:cubicBezTo>
                  <a:pt x="42718" y="165468"/>
                  <a:pt x="42378" y="159707"/>
                  <a:pt x="42378" y="153870"/>
                </a:cubicBezTo>
                <a:cubicBezTo>
                  <a:pt x="42378" y="68890"/>
                  <a:pt x="114211" y="0"/>
                  <a:pt x="20282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</a:t>
            </a:r>
          </a:p>
        </p:txBody>
      </p:sp>
      <p:sp>
        <p:nvSpPr>
          <p:cNvPr id="123" name="Rounded Rectangle 40">
            <a:extLst>
              <a:ext uri="{FF2B5EF4-FFF2-40B4-BE49-F238E27FC236}">
                <a16:creationId xmlns:a16="http://schemas.microsoft.com/office/drawing/2014/main" id="{7D2DBF31-A560-F947-805B-928F1D762CCE}"/>
              </a:ext>
            </a:extLst>
          </p:cNvPr>
          <p:cNvSpPr>
            <a:spLocks noChangeAspect="1"/>
          </p:cNvSpPr>
          <p:nvPr/>
        </p:nvSpPr>
        <p:spPr>
          <a:xfrm>
            <a:off x="2807033" y="4474674"/>
            <a:ext cx="579996" cy="454250"/>
          </a:xfrm>
          <a:custGeom>
            <a:avLst/>
            <a:gdLst/>
            <a:ahLst/>
            <a:cxnLst/>
            <a:rect l="l" t="t" r="r" b="b"/>
            <a:pathLst>
              <a:path w="1031519" h="924680">
                <a:moveTo>
                  <a:pt x="300026" y="878961"/>
                </a:moveTo>
                <a:lnTo>
                  <a:pt x="731491" y="878961"/>
                </a:lnTo>
                <a:cubicBezTo>
                  <a:pt x="735699" y="878961"/>
                  <a:pt x="739111" y="882373"/>
                  <a:pt x="739111" y="886581"/>
                </a:cubicBezTo>
                <a:lnTo>
                  <a:pt x="739111" y="917060"/>
                </a:lnTo>
                <a:cubicBezTo>
                  <a:pt x="739111" y="921268"/>
                  <a:pt x="735699" y="924680"/>
                  <a:pt x="731491" y="924680"/>
                </a:cubicBezTo>
                <a:lnTo>
                  <a:pt x="300026" y="924680"/>
                </a:lnTo>
                <a:cubicBezTo>
                  <a:pt x="295818" y="924680"/>
                  <a:pt x="292406" y="921268"/>
                  <a:pt x="292406" y="917060"/>
                </a:cubicBezTo>
                <a:lnTo>
                  <a:pt x="292406" y="886581"/>
                </a:lnTo>
                <a:cubicBezTo>
                  <a:pt x="292406" y="882373"/>
                  <a:pt x="295818" y="878961"/>
                  <a:pt x="300026" y="878961"/>
                </a:cubicBezTo>
                <a:close/>
                <a:moveTo>
                  <a:pt x="515760" y="736562"/>
                </a:moveTo>
                <a:cubicBezTo>
                  <a:pt x="501921" y="736562"/>
                  <a:pt x="490702" y="750422"/>
                  <a:pt x="490702" y="767519"/>
                </a:cubicBezTo>
                <a:cubicBezTo>
                  <a:pt x="490702" y="784616"/>
                  <a:pt x="501921" y="798476"/>
                  <a:pt x="515760" y="798476"/>
                </a:cubicBezTo>
                <a:cubicBezTo>
                  <a:pt x="529599" y="798476"/>
                  <a:pt x="540818" y="784616"/>
                  <a:pt x="540818" y="767519"/>
                </a:cubicBezTo>
                <a:cubicBezTo>
                  <a:pt x="540818" y="750422"/>
                  <a:pt x="529599" y="736562"/>
                  <a:pt x="515760" y="736562"/>
                </a:cubicBezTo>
                <a:close/>
                <a:moveTo>
                  <a:pt x="123418" y="38604"/>
                </a:moveTo>
                <a:cubicBezTo>
                  <a:pt x="77273" y="38604"/>
                  <a:pt x="39865" y="85860"/>
                  <a:pt x="39865" y="144153"/>
                </a:cubicBezTo>
                <a:lnTo>
                  <a:pt x="39865" y="566338"/>
                </a:lnTo>
                <a:cubicBezTo>
                  <a:pt x="39865" y="624632"/>
                  <a:pt x="77273" y="671888"/>
                  <a:pt x="123418" y="671888"/>
                </a:cubicBezTo>
                <a:lnTo>
                  <a:pt x="908101" y="671888"/>
                </a:lnTo>
                <a:cubicBezTo>
                  <a:pt x="954246" y="671888"/>
                  <a:pt x="991653" y="624632"/>
                  <a:pt x="991653" y="566338"/>
                </a:cubicBezTo>
                <a:lnTo>
                  <a:pt x="991653" y="144153"/>
                </a:lnTo>
                <a:cubicBezTo>
                  <a:pt x="991653" y="85860"/>
                  <a:pt x="954246" y="38604"/>
                  <a:pt x="908101" y="38604"/>
                </a:cubicBezTo>
                <a:close/>
                <a:moveTo>
                  <a:pt x="110688" y="0"/>
                </a:moveTo>
                <a:lnTo>
                  <a:pt x="920831" y="0"/>
                </a:lnTo>
                <a:cubicBezTo>
                  <a:pt x="981963" y="0"/>
                  <a:pt x="1031519" y="62603"/>
                  <a:pt x="1031519" y="139829"/>
                </a:cubicBezTo>
                <a:lnTo>
                  <a:pt x="1031519" y="699126"/>
                </a:lnTo>
                <a:cubicBezTo>
                  <a:pt x="1031519" y="776352"/>
                  <a:pt x="981963" y="838955"/>
                  <a:pt x="920831" y="838955"/>
                </a:cubicBezTo>
                <a:lnTo>
                  <a:pt x="110688" y="838955"/>
                </a:lnTo>
                <a:cubicBezTo>
                  <a:pt x="49556" y="838955"/>
                  <a:pt x="0" y="776352"/>
                  <a:pt x="0" y="699126"/>
                </a:cubicBezTo>
                <a:lnTo>
                  <a:pt x="0" y="139829"/>
                </a:lnTo>
                <a:cubicBezTo>
                  <a:pt x="0" y="62603"/>
                  <a:pt x="49556" y="0"/>
                  <a:pt x="11068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Rounded Rectangle 32">
            <a:extLst>
              <a:ext uri="{FF2B5EF4-FFF2-40B4-BE49-F238E27FC236}">
                <a16:creationId xmlns:a16="http://schemas.microsoft.com/office/drawing/2014/main" id="{69B6615C-1D44-8E4A-A2E8-119AC373EF3D}"/>
              </a:ext>
            </a:extLst>
          </p:cNvPr>
          <p:cNvSpPr>
            <a:spLocks noChangeAspect="1"/>
          </p:cNvSpPr>
          <p:nvPr/>
        </p:nvSpPr>
        <p:spPr>
          <a:xfrm>
            <a:off x="4027518" y="4396795"/>
            <a:ext cx="208564" cy="405749"/>
          </a:xfrm>
          <a:custGeom>
            <a:avLst/>
            <a:gdLst/>
            <a:ahLst/>
            <a:cxnLst/>
            <a:rect l="l" t="t" r="r" b="b"/>
            <a:pathLst>
              <a:path w="403761" h="785497">
                <a:moveTo>
                  <a:pt x="201880" y="692277"/>
                </a:moveTo>
                <a:cubicBezTo>
                  <a:pt x="189255" y="692277"/>
                  <a:pt x="179020" y="702512"/>
                  <a:pt x="179020" y="715137"/>
                </a:cubicBezTo>
                <a:cubicBezTo>
                  <a:pt x="179020" y="727762"/>
                  <a:pt x="189255" y="737997"/>
                  <a:pt x="201880" y="737997"/>
                </a:cubicBezTo>
                <a:cubicBezTo>
                  <a:pt x="214505" y="737997"/>
                  <a:pt x="224740" y="727762"/>
                  <a:pt x="224740" y="715137"/>
                </a:cubicBezTo>
                <a:cubicBezTo>
                  <a:pt x="224740" y="702512"/>
                  <a:pt x="214505" y="692277"/>
                  <a:pt x="201880" y="692277"/>
                </a:cubicBezTo>
                <a:close/>
                <a:moveTo>
                  <a:pt x="87087" y="75947"/>
                </a:moveTo>
                <a:cubicBezTo>
                  <a:pt x="55386" y="75947"/>
                  <a:pt x="29688" y="101645"/>
                  <a:pt x="29688" y="133346"/>
                </a:cubicBezTo>
                <a:lnTo>
                  <a:pt x="29688" y="609345"/>
                </a:lnTo>
                <a:cubicBezTo>
                  <a:pt x="29688" y="641046"/>
                  <a:pt x="55386" y="666744"/>
                  <a:pt x="87087" y="666744"/>
                </a:cubicBezTo>
                <a:lnTo>
                  <a:pt x="316674" y="666744"/>
                </a:lnTo>
                <a:cubicBezTo>
                  <a:pt x="348375" y="666744"/>
                  <a:pt x="374073" y="641046"/>
                  <a:pt x="374073" y="609345"/>
                </a:cubicBezTo>
                <a:lnTo>
                  <a:pt x="374073" y="133346"/>
                </a:lnTo>
                <a:cubicBezTo>
                  <a:pt x="374073" y="101645"/>
                  <a:pt x="348375" y="75947"/>
                  <a:pt x="316674" y="75947"/>
                </a:cubicBezTo>
                <a:close/>
                <a:moveTo>
                  <a:pt x="138295" y="13662"/>
                </a:moveTo>
                <a:cubicBezTo>
                  <a:pt x="134087" y="13662"/>
                  <a:pt x="130675" y="17074"/>
                  <a:pt x="130675" y="21282"/>
                </a:cubicBezTo>
                <a:lnTo>
                  <a:pt x="130675" y="51761"/>
                </a:lnTo>
                <a:cubicBezTo>
                  <a:pt x="130675" y="55969"/>
                  <a:pt x="134087" y="59381"/>
                  <a:pt x="138295" y="59381"/>
                </a:cubicBezTo>
                <a:lnTo>
                  <a:pt x="265464" y="59381"/>
                </a:lnTo>
                <a:cubicBezTo>
                  <a:pt x="269672" y="59381"/>
                  <a:pt x="273084" y="55969"/>
                  <a:pt x="273084" y="51761"/>
                </a:cubicBezTo>
                <a:lnTo>
                  <a:pt x="273084" y="21282"/>
                </a:lnTo>
                <a:cubicBezTo>
                  <a:pt x="273084" y="17074"/>
                  <a:pt x="269672" y="13662"/>
                  <a:pt x="265464" y="13662"/>
                </a:cubicBezTo>
                <a:close/>
                <a:moveTo>
                  <a:pt x="67295" y="0"/>
                </a:moveTo>
                <a:lnTo>
                  <a:pt x="336466" y="0"/>
                </a:lnTo>
                <a:cubicBezTo>
                  <a:pt x="373632" y="0"/>
                  <a:pt x="403761" y="30129"/>
                  <a:pt x="403761" y="67295"/>
                </a:cubicBezTo>
                <a:lnTo>
                  <a:pt x="403761" y="718202"/>
                </a:lnTo>
                <a:cubicBezTo>
                  <a:pt x="403761" y="755368"/>
                  <a:pt x="373632" y="785497"/>
                  <a:pt x="336466" y="785497"/>
                </a:cubicBezTo>
                <a:lnTo>
                  <a:pt x="67295" y="785497"/>
                </a:lnTo>
                <a:cubicBezTo>
                  <a:pt x="30129" y="785497"/>
                  <a:pt x="0" y="755368"/>
                  <a:pt x="0" y="718202"/>
                </a:cubicBezTo>
                <a:lnTo>
                  <a:pt x="0" y="67295"/>
                </a:lnTo>
                <a:cubicBezTo>
                  <a:pt x="0" y="30129"/>
                  <a:pt x="30129" y="0"/>
                  <a:pt x="6729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5" name="Trapezoid 104">
            <a:extLst>
              <a:ext uri="{FF2B5EF4-FFF2-40B4-BE49-F238E27FC236}">
                <a16:creationId xmlns:a16="http://schemas.microsoft.com/office/drawing/2014/main" id="{BD807164-3EDA-F44F-A9AE-529B8141DDD4}"/>
              </a:ext>
            </a:extLst>
          </p:cNvPr>
          <p:cNvSpPr>
            <a:spLocks noChangeAspect="1"/>
          </p:cNvSpPr>
          <p:nvPr/>
        </p:nvSpPr>
        <p:spPr>
          <a:xfrm>
            <a:off x="1826881" y="4397257"/>
            <a:ext cx="481272" cy="530444"/>
          </a:xfrm>
          <a:custGeom>
            <a:avLst/>
            <a:gdLst/>
            <a:ahLst/>
            <a:cxnLst/>
            <a:rect l="l" t="t" r="r" b="b"/>
            <a:pathLst>
              <a:path w="357163" h="393654">
                <a:moveTo>
                  <a:pt x="80914" y="382854"/>
                </a:moveTo>
                <a:lnTo>
                  <a:pt x="276248" y="382854"/>
                </a:lnTo>
                <a:cubicBezTo>
                  <a:pt x="301834" y="382854"/>
                  <a:pt x="322581" y="385272"/>
                  <a:pt x="322581" y="388254"/>
                </a:cubicBezTo>
                <a:cubicBezTo>
                  <a:pt x="322581" y="391237"/>
                  <a:pt x="301834" y="393654"/>
                  <a:pt x="276248" y="393654"/>
                </a:cubicBezTo>
                <a:lnTo>
                  <a:pt x="80914" y="393654"/>
                </a:lnTo>
                <a:cubicBezTo>
                  <a:pt x="55328" y="393654"/>
                  <a:pt x="34581" y="391237"/>
                  <a:pt x="34581" y="388254"/>
                </a:cubicBezTo>
                <a:cubicBezTo>
                  <a:pt x="34581" y="385272"/>
                  <a:pt x="55328" y="382854"/>
                  <a:pt x="80914" y="382854"/>
                </a:cubicBezTo>
                <a:close/>
                <a:moveTo>
                  <a:pt x="282373" y="315628"/>
                </a:moveTo>
                <a:cubicBezTo>
                  <a:pt x="287344" y="315628"/>
                  <a:pt x="291373" y="319657"/>
                  <a:pt x="291373" y="324628"/>
                </a:cubicBezTo>
                <a:cubicBezTo>
                  <a:pt x="291373" y="329599"/>
                  <a:pt x="287344" y="333628"/>
                  <a:pt x="282373" y="333628"/>
                </a:cubicBezTo>
                <a:cubicBezTo>
                  <a:pt x="277402" y="333628"/>
                  <a:pt x="273373" y="329599"/>
                  <a:pt x="273373" y="324628"/>
                </a:cubicBezTo>
                <a:cubicBezTo>
                  <a:pt x="273373" y="319657"/>
                  <a:pt x="277402" y="315628"/>
                  <a:pt x="282373" y="315628"/>
                </a:cubicBezTo>
                <a:close/>
                <a:moveTo>
                  <a:pt x="281927" y="309695"/>
                </a:moveTo>
                <a:cubicBezTo>
                  <a:pt x="271986" y="309695"/>
                  <a:pt x="263927" y="317754"/>
                  <a:pt x="263927" y="327695"/>
                </a:cubicBezTo>
                <a:cubicBezTo>
                  <a:pt x="263927" y="337636"/>
                  <a:pt x="271986" y="345695"/>
                  <a:pt x="281927" y="345695"/>
                </a:cubicBezTo>
                <a:cubicBezTo>
                  <a:pt x="291868" y="345695"/>
                  <a:pt x="299927" y="337636"/>
                  <a:pt x="299927" y="327695"/>
                </a:cubicBezTo>
                <a:cubicBezTo>
                  <a:pt x="299927" y="317754"/>
                  <a:pt x="291868" y="309695"/>
                  <a:pt x="281927" y="309695"/>
                </a:cubicBezTo>
                <a:close/>
                <a:moveTo>
                  <a:pt x="125110" y="280362"/>
                </a:moveTo>
                <a:cubicBezTo>
                  <a:pt x="123511" y="280362"/>
                  <a:pt x="122214" y="281974"/>
                  <a:pt x="122214" y="283962"/>
                </a:cubicBezTo>
                <a:cubicBezTo>
                  <a:pt x="122214" y="285950"/>
                  <a:pt x="123511" y="287562"/>
                  <a:pt x="125110" y="287562"/>
                </a:cubicBezTo>
                <a:lnTo>
                  <a:pt x="137318" y="287562"/>
                </a:lnTo>
                <a:cubicBezTo>
                  <a:pt x="138917" y="287562"/>
                  <a:pt x="140214" y="285950"/>
                  <a:pt x="140214" y="283962"/>
                </a:cubicBezTo>
                <a:cubicBezTo>
                  <a:pt x="140214" y="281974"/>
                  <a:pt x="138917" y="280362"/>
                  <a:pt x="137318" y="280362"/>
                </a:cubicBezTo>
                <a:close/>
                <a:moveTo>
                  <a:pt x="56298" y="184091"/>
                </a:moveTo>
                <a:lnTo>
                  <a:pt x="57610" y="184091"/>
                </a:lnTo>
                <a:lnTo>
                  <a:pt x="57610" y="311893"/>
                </a:lnTo>
                <a:cubicBezTo>
                  <a:pt x="57610" y="322381"/>
                  <a:pt x="68871" y="330883"/>
                  <a:pt x="82762" y="330883"/>
                </a:cubicBezTo>
                <a:lnTo>
                  <a:pt x="183368" y="330883"/>
                </a:lnTo>
                <a:cubicBezTo>
                  <a:pt x="196079" y="330883"/>
                  <a:pt x="206587" y="323765"/>
                  <a:pt x="207189" y="314320"/>
                </a:cubicBezTo>
                <a:lnTo>
                  <a:pt x="207527" y="316555"/>
                </a:lnTo>
                <a:lnTo>
                  <a:pt x="207638" y="313501"/>
                </a:lnTo>
                <a:cubicBezTo>
                  <a:pt x="208487" y="313033"/>
                  <a:pt x="208520" y="312466"/>
                  <a:pt x="208520" y="311893"/>
                </a:cubicBezTo>
                <a:lnTo>
                  <a:pt x="208520" y="289212"/>
                </a:lnTo>
                <a:cubicBezTo>
                  <a:pt x="207932" y="245579"/>
                  <a:pt x="217173" y="208741"/>
                  <a:pt x="234676" y="184091"/>
                </a:cubicBezTo>
                <a:lnTo>
                  <a:pt x="314821" y="184091"/>
                </a:lnTo>
                <a:lnTo>
                  <a:pt x="332092" y="204272"/>
                </a:lnTo>
                <a:lnTo>
                  <a:pt x="357163" y="329545"/>
                </a:lnTo>
                <a:cubicBezTo>
                  <a:pt x="354353" y="349344"/>
                  <a:pt x="344628" y="366887"/>
                  <a:pt x="328776" y="381430"/>
                </a:cubicBezTo>
                <a:lnTo>
                  <a:pt x="36073" y="381430"/>
                </a:lnTo>
                <a:cubicBezTo>
                  <a:pt x="18372" y="369836"/>
                  <a:pt x="6185" y="354458"/>
                  <a:pt x="0" y="336128"/>
                </a:cubicBezTo>
                <a:lnTo>
                  <a:pt x="27462" y="198907"/>
                </a:lnTo>
                <a:close/>
                <a:moveTo>
                  <a:pt x="99970" y="64405"/>
                </a:moveTo>
                <a:cubicBezTo>
                  <a:pt x="92373" y="64405"/>
                  <a:pt x="86214" y="70564"/>
                  <a:pt x="86214" y="78161"/>
                </a:cubicBezTo>
                <a:lnTo>
                  <a:pt x="86214" y="133184"/>
                </a:lnTo>
                <a:cubicBezTo>
                  <a:pt x="86214" y="140781"/>
                  <a:pt x="92373" y="146940"/>
                  <a:pt x="99970" y="146940"/>
                </a:cubicBezTo>
                <a:lnTo>
                  <a:pt x="162458" y="146940"/>
                </a:lnTo>
                <a:cubicBezTo>
                  <a:pt x="170055" y="146940"/>
                  <a:pt x="176214" y="140781"/>
                  <a:pt x="176214" y="133184"/>
                </a:cubicBezTo>
                <a:lnTo>
                  <a:pt x="176214" y="78161"/>
                </a:lnTo>
                <a:cubicBezTo>
                  <a:pt x="176214" y="70564"/>
                  <a:pt x="170055" y="64405"/>
                  <a:pt x="162458" y="64405"/>
                </a:cubicBezTo>
                <a:close/>
                <a:moveTo>
                  <a:pt x="130286" y="16492"/>
                </a:moveTo>
                <a:cubicBezTo>
                  <a:pt x="122333" y="16492"/>
                  <a:pt x="115886" y="22939"/>
                  <a:pt x="115886" y="30892"/>
                </a:cubicBezTo>
                <a:cubicBezTo>
                  <a:pt x="115886" y="38845"/>
                  <a:pt x="122333" y="45292"/>
                  <a:pt x="130286" y="45292"/>
                </a:cubicBezTo>
                <a:cubicBezTo>
                  <a:pt x="138239" y="45292"/>
                  <a:pt x="144686" y="38845"/>
                  <a:pt x="144686" y="30892"/>
                </a:cubicBezTo>
                <a:cubicBezTo>
                  <a:pt x="144686" y="22939"/>
                  <a:pt x="138239" y="16492"/>
                  <a:pt x="130286" y="16492"/>
                </a:cubicBezTo>
                <a:close/>
                <a:moveTo>
                  <a:pt x="93234" y="0"/>
                </a:moveTo>
                <a:lnTo>
                  <a:pt x="169194" y="0"/>
                </a:lnTo>
                <a:cubicBezTo>
                  <a:pt x="179682" y="0"/>
                  <a:pt x="188184" y="8502"/>
                  <a:pt x="188184" y="18990"/>
                </a:cubicBezTo>
                <a:lnTo>
                  <a:pt x="188184" y="295433"/>
                </a:lnTo>
                <a:cubicBezTo>
                  <a:pt x="188184" y="305921"/>
                  <a:pt x="179682" y="314423"/>
                  <a:pt x="169194" y="314423"/>
                </a:cubicBezTo>
                <a:lnTo>
                  <a:pt x="93234" y="314423"/>
                </a:lnTo>
                <a:cubicBezTo>
                  <a:pt x="82746" y="314423"/>
                  <a:pt x="74244" y="305921"/>
                  <a:pt x="74244" y="295433"/>
                </a:cubicBezTo>
                <a:lnTo>
                  <a:pt x="74244" y="18990"/>
                </a:lnTo>
                <a:cubicBezTo>
                  <a:pt x="74244" y="8502"/>
                  <a:pt x="82746" y="0"/>
                  <a:pt x="9323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6" name="Trapezoid 52">
            <a:extLst>
              <a:ext uri="{FF2B5EF4-FFF2-40B4-BE49-F238E27FC236}">
                <a16:creationId xmlns:a16="http://schemas.microsoft.com/office/drawing/2014/main" id="{7D2FFFB6-108B-484D-A50B-AA369D5D8107}"/>
              </a:ext>
            </a:extLst>
          </p:cNvPr>
          <p:cNvSpPr>
            <a:spLocks noChangeAspect="1"/>
          </p:cNvSpPr>
          <p:nvPr/>
        </p:nvSpPr>
        <p:spPr>
          <a:xfrm>
            <a:off x="769589" y="4448801"/>
            <a:ext cx="589114" cy="473434"/>
          </a:xfrm>
          <a:custGeom>
            <a:avLst/>
            <a:gdLst/>
            <a:ahLst/>
            <a:cxnLst/>
            <a:rect l="l" t="t" r="r" b="b"/>
            <a:pathLst>
              <a:path w="1074282" h="923118">
                <a:moveTo>
                  <a:pt x="471551" y="795954"/>
                </a:moveTo>
                <a:lnTo>
                  <a:pt x="455570" y="866212"/>
                </a:lnTo>
                <a:lnTo>
                  <a:pt x="618711" y="866212"/>
                </a:lnTo>
                <a:lnTo>
                  <a:pt x="602730" y="795954"/>
                </a:lnTo>
                <a:close/>
                <a:moveTo>
                  <a:pt x="119057" y="579403"/>
                </a:moveTo>
                <a:lnTo>
                  <a:pt x="84652" y="757706"/>
                </a:lnTo>
                <a:lnTo>
                  <a:pt x="981937" y="757706"/>
                </a:lnTo>
                <a:lnTo>
                  <a:pt x="947532" y="579403"/>
                </a:lnTo>
                <a:close/>
                <a:moveTo>
                  <a:pt x="91965" y="518822"/>
                </a:moveTo>
                <a:lnTo>
                  <a:pt x="982317" y="518822"/>
                </a:lnTo>
                <a:lnTo>
                  <a:pt x="1074282" y="923118"/>
                </a:lnTo>
                <a:lnTo>
                  <a:pt x="0" y="923118"/>
                </a:lnTo>
                <a:close/>
                <a:moveTo>
                  <a:pt x="160126" y="43204"/>
                </a:moveTo>
                <a:lnTo>
                  <a:pt x="139168" y="463007"/>
                </a:lnTo>
                <a:lnTo>
                  <a:pt x="936128" y="463007"/>
                </a:lnTo>
                <a:lnTo>
                  <a:pt x="915169" y="43204"/>
                </a:lnTo>
                <a:close/>
                <a:moveTo>
                  <a:pt x="536950" y="4716"/>
                </a:moveTo>
                <a:cubicBezTo>
                  <a:pt x="529188" y="4716"/>
                  <a:pt x="522895" y="12102"/>
                  <a:pt x="522895" y="21214"/>
                </a:cubicBezTo>
                <a:cubicBezTo>
                  <a:pt x="522895" y="30326"/>
                  <a:pt x="529188" y="37712"/>
                  <a:pt x="536950" y="37712"/>
                </a:cubicBezTo>
                <a:cubicBezTo>
                  <a:pt x="544713" y="37712"/>
                  <a:pt x="551006" y="30326"/>
                  <a:pt x="551006" y="21214"/>
                </a:cubicBezTo>
                <a:cubicBezTo>
                  <a:pt x="551006" y="12102"/>
                  <a:pt x="544713" y="4716"/>
                  <a:pt x="536950" y="4716"/>
                </a:cubicBezTo>
                <a:close/>
                <a:moveTo>
                  <a:pt x="129555" y="0"/>
                </a:moveTo>
                <a:lnTo>
                  <a:pt x="945741" y="0"/>
                </a:lnTo>
                <a:lnTo>
                  <a:pt x="971013" y="506212"/>
                </a:lnTo>
                <a:lnTo>
                  <a:pt x="104283" y="50621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Frame 73">
            <a:extLst>
              <a:ext uri="{FF2B5EF4-FFF2-40B4-BE49-F238E27FC236}">
                <a16:creationId xmlns:a16="http://schemas.microsoft.com/office/drawing/2014/main" id="{037AB48B-C822-5C46-BBCC-3A10B0B9881F}"/>
              </a:ext>
            </a:extLst>
          </p:cNvPr>
          <p:cNvSpPr>
            <a:spLocks noChangeAspect="1"/>
          </p:cNvSpPr>
          <p:nvPr/>
        </p:nvSpPr>
        <p:spPr>
          <a:xfrm rot="5400000">
            <a:off x="2795138" y="5756534"/>
            <a:ext cx="597710" cy="586070"/>
          </a:xfrm>
          <a:custGeom>
            <a:avLst/>
            <a:gdLst/>
            <a:ahLst/>
            <a:cxnLst/>
            <a:rect l="l" t="t" r="r" b="b"/>
            <a:pathLst>
              <a:path w="599760" h="588083">
                <a:moveTo>
                  <a:pt x="562613" y="74048"/>
                </a:moveTo>
                <a:lnTo>
                  <a:pt x="563760" y="75370"/>
                </a:lnTo>
                <a:lnTo>
                  <a:pt x="563760" y="42246"/>
                </a:lnTo>
                <a:lnTo>
                  <a:pt x="562613" y="43569"/>
                </a:lnTo>
                <a:close/>
                <a:moveTo>
                  <a:pt x="366219" y="118701"/>
                </a:moveTo>
                <a:cubicBezTo>
                  <a:pt x="370085" y="115577"/>
                  <a:pt x="376479" y="117079"/>
                  <a:pt x="380499" y="122054"/>
                </a:cubicBezTo>
                <a:lnTo>
                  <a:pt x="411192" y="160036"/>
                </a:lnTo>
                <a:cubicBezTo>
                  <a:pt x="415212" y="165012"/>
                  <a:pt x="415338" y="171578"/>
                  <a:pt x="411472" y="174703"/>
                </a:cubicBezTo>
                <a:cubicBezTo>
                  <a:pt x="407606" y="177827"/>
                  <a:pt x="401212" y="176325"/>
                  <a:pt x="397191" y="171350"/>
                </a:cubicBezTo>
                <a:lnTo>
                  <a:pt x="366499" y="133368"/>
                </a:lnTo>
                <a:cubicBezTo>
                  <a:pt x="362478" y="128392"/>
                  <a:pt x="362352" y="121826"/>
                  <a:pt x="366219" y="118701"/>
                </a:cubicBezTo>
                <a:close/>
                <a:moveTo>
                  <a:pt x="314822" y="413861"/>
                </a:moveTo>
                <a:lnTo>
                  <a:pt x="323555" y="406740"/>
                </a:lnTo>
                <a:cubicBezTo>
                  <a:pt x="335298" y="413911"/>
                  <a:pt x="350469" y="417660"/>
                  <a:pt x="365987" y="417226"/>
                </a:cubicBezTo>
                <a:cubicBezTo>
                  <a:pt x="382325" y="416769"/>
                  <a:pt x="397723" y="411714"/>
                  <a:pt x="408741" y="403190"/>
                </a:cubicBezTo>
                <a:lnTo>
                  <a:pt x="418207" y="409282"/>
                </a:lnTo>
                <a:cubicBezTo>
                  <a:pt x="405216" y="420637"/>
                  <a:pt x="386527" y="427440"/>
                  <a:pt x="366596" y="428070"/>
                </a:cubicBezTo>
                <a:cubicBezTo>
                  <a:pt x="347508" y="428673"/>
                  <a:pt x="328883" y="423562"/>
                  <a:pt x="314822" y="413861"/>
                </a:cubicBezTo>
                <a:close/>
                <a:moveTo>
                  <a:pt x="307786" y="122119"/>
                </a:moveTo>
                <a:cubicBezTo>
                  <a:pt x="306417" y="117834"/>
                  <a:pt x="306537" y="114403"/>
                  <a:pt x="308471" y="112841"/>
                </a:cubicBezTo>
                <a:cubicBezTo>
                  <a:pt x="312337" y="109716"/>
                  <a:pt x="321991" y="115252"/>
                  <a:pt x="330031" y="125203"/>
                </a:cubicBezTo>
                <a:lnTo>
                  <a:pt x="391417" y="201168"/>
                </a:lnTo>
                <a:cubicBezTo>
                  <a:pt x="399458" y="211118"/>
                  <a:pt x="402844" y="221719"/>
                  <a:pt x="398977" y="224843"/>
                </a:cubicBezTo>
                <a:cubicBezTo>
                  <a:pt x="395111" y="227967"/>
                  <a:pt x="385457" y="222431"/>
                  <a:pt x="377417" y="212481"/>
                </a:cubicBezTo>
                <a:lnTo>
                  <a:pt x="316031" y="136516"/>
                </a:lnTo>
                <a:cubicBezTo>
                  <a:pt x="312011" y="131541"/>
                  <a:pt x="309154" y="126403"/>
                  <a:pt x="307786" y="122119"/>
                </a:cubicBezTo>
                <a:close/>
                <a:moveTo>
                  <a:pt x="306965" y="173576"/>
                </a:moveTo>
                <a:cubicBezTo>
                  <a:pt x="310831" y="170452"/>
                  <a:pt x="317225" y="171954"/>
                  <a:pt x="321245" y="176929"/>
                </a:cubicBezTo>
                <a:lnTo>
                  <a:pt x="351938" y="214911"/>
                </a:lnTo>
                <a:cubicBezTo>
                  <a:pt x="355958" y="219887"/>
                  <a:pt x="356084" y="226453"/>
                  <a:pt x="352218" y="229578"/>
                </a:cubicBezTo>
                <a:cubicBezTo>
                  <a:pt x="348352" y="232702"/>
                  <a:pt x="341958" y="231200"/>
                  <a:pt x="337937" y="226225"/>
                </a:cubicBezTo>
                <a:lnTo>
                  <a:pt x="307245" y="188243"/>
                </a:lnTo>
                <a:cubicBezTo>
                  <a:pt x="303224" y="183267"/>
                  <a:pt x="303098" y="176701"/>
                  <a:pt x="306965" y="173576"/>
                </a:cubicBezTo>
                <a:close/>
                <a:moveTo>
                  <a:pt x="185301" y="118491"/>
                </a:moveTo>
                <a:cubicBezTo>
                  <a:pt x="209062" y="114606"/>
                  <a:pt x="233093" y="123850"/>
                  <a:pt x="247103" y="142266"/>
                </a:cubicBezTo>
                <a:cubicBezTo>
                  <a:pt x="262446" y="162434"/>
                  <a:pt x="262668" y="189459"/>
                  <a:pt x="247657" y="209846"/>
                </a:cubicBezTo>
                <a:cubicBezTo>
                  <a:pt x="233934" y="228483"/>
                  <a:pt x="210020" y="238071"/>
                  <a:pt x="186176" y="234497"/>
                </a:cubicBezTo>
                <a:cubicBezTo>
                  <a:pt x="185884" y="195828"/>
                  <a:pt x="185593" y="157160"/>
                  <a:pt x="185301" y="118491"/>
                </a:cubicBezTo>
                <a:close/>
                <a:moveTo>
                  <a:pt x="185301" y="236107"/>
                </a:moveTo>
                <a:cubicBezTo>
                  <a:pt x="209062" y="232222"/>
                  <a:pt x="233093" y="241466"/>
                  <a:pt x="247103" y="259882"/>
                </a:cubicBezTo>
                <a:cubicBezTo>
                  <a:pt x="262446" y="280050"/>
                  <a:pt x="262668" y="307075"/>
                  <a:pt x="247657" y="327462"/>
                </a:cubicBezTo>
                <a:cubicBezTo>
                  <a:pt x="233934" y="346099"/>
                  <a:pt x="210020" y="355687"/>
                  <a:pt x="186176" y="352113"/>
                </a:cubicBezTo>
                <a:cubicBezTo>
                  <a:pt x="185884" y="313444"/>
                  <a:pt x="185593" y="274776"/>
                  <a:pt x="185301" y="236107"/>
                </a:cubicBezTo>
                <a:close/>
                <a:moveTo>
                  <a:pt x="185301" y="471339"/>
                </a:moveTo>
                <a:cubicBezTo>
                  <a:pt x="209062" y="467454"/>
                  <a:pt x="233093" y="476698"/>
                  <a:pt x="247103" y="495114"/>
                </a:cubicBezTo>
                <a:lnTo>
                  <a:pt x="252693" y="511273"/>
                </a:lnTo>
                <a:lnTo>
                  <a:pt x="563759" y="511273"/>
                </a:lnTo>
                <a:lnTo>
                  <a:pt x="561365" y="514033"/>
                </a:lnTo>
                <a:lnTo>
                  <a:pt x="561365" y="544512"/>
                </a:lnTo>
                <a:cubicBezTo>
                  <a:pt x="561365" y="545882"/>
                  <a:pt x="561679" y="547168"/>
                  <a:pt x="563760" y="547273"/>
                </a:cubicBezTo>
                <a:lnTo>
                  <a:pt x="252713" y="547273"/>
                </a:lnTo>
                <a:cubicBezTo>
                  <a:pt x="253581" y="553297"/>
                  <a:pt x="250996" y="558160"/>
                  <a:pt x="247657" y="562694"/>
                </a:cubicBezTo>
                <a:cubicBezTo>
                  <a:pt x="233934" y="581331"/>
                  <a:pt x="210020" y="590919"/>
                  <a:pt x="186176" y="587345"/>
                </a:cubicBezTo>
                <a:cubicBezTo>
                  <a:pt x="185884" y="548676"/>
                  <a:pt x="185593" y="510008"/>
                  <a:pt x="185301" y="471339"/>
                </a:cubicBezTo>
                <a:close/>
                <a:moveTo>
                  <a:pt x="185300" y="353723"/>
                </a:moveTo>
                <a:cubicBezTo>
                  <a:pt x="197386" y="351747"/>
                  <a:pt x="209542" y="353167"/>
                  <a:pt x="220353" y="357616"/>
                </a:cubicBezTo>
                <a:lnTo>
                  <a:pt x="563760" y="357616"/>
                </a:lnTo>
                <a:lnTo>
                  <a:pt x="563760" y="76809"/>
                </a:lnTo>
                <a:lnTo>
                  <a:pt x="252713" y="76809"/>
                </a:lnTo>
                <a:cubicBezTo>
                  <a:pt x="253581" y="82833"/>
                  <a:pt x="250996" y="87695"/>
                  <a:pt x="247657" y="92230"/>
                </a:cubicBezTo>
                <a:cubicBezTo>
                  <a:pt x="233934" y="110867"/>
                  <a:pt x="210020" y="120455"/>
                  <a:pt x="186176" y="116881"/>
                </a:cubicBezTo>
                <a:cubicBezTo>
                  <a:pt x="185884" y="78212"/>
                  <a:pt x="185593" y="39544"/>
                  <a:pt x="185301" y="875"/>
                </a:cubicBezTo>
                <a:cubicBezTo>
                  <a:pt x="209062" y="-3010"/>
                  <a:pt x="233093" y="6234"/>
                  <a:pt x="247103" y="24650"/>
                </a:cubicBezTo>
                <a:lnTo>
                  <a:pt x="252693" y="40809"/>
                </a:lnTo>
                <a:lnTo>
                  <a:pt x="563760" y="40809"/>
                </a:lnTo>
                <a:lnTo>
                  <a:pt x="563760" y="20347"/>
                </a:lnTo>
                <a:lnTo>
                  <a:pt x="566520" y="23938"/>
                </a:lnTo>
                <a:lnTo>
                  <a:pt x="596999" y="23938"/>
                </a:lnTo>
                <a:cubicBezTo>
                  <a:pt x="598369" y="23938"/>
                  <a:pt x="599655" y="23467"/>
                  <a:pt x="599760" y="20346"/>
                </a:cubicBezTo>
                <a:lnTo>
                  <a:pt x="599760" y="560346"/>
                </a:lnTo>
                <a:lnTo>
                  <a:pt x="563760" y="560346"/>
                </a:lnTo>
                <a:lnTo>
                  <a:pt x="563760" y="547273"/>
                </a:lnTo>
                <a:lnTo>
                  <a:pt x="563760" y="379869"/>
                </a:lnTo>
                <a:lnTo>
                  <a:pt x="247922" y="379869"/>
                </a:lnTo>
                <a:cubicBezTo>
                  <a:pt x="262444" y="399384"/>
                  <a:pt x="262188" y="425341"/>
                  <a:pt x="247656" y="445078"/>
                </a:cubicBezTo>
                <a:cubicBezTo>
                  <a:pt x="233933" y="463715"/>
                  <a:pt x="210019" y="473303"/>
                  <a:pt x="186175" y="469729"/>
                </a:cubicBezTo>
                <a:cubicBezTo>
                  <a:pt x="185883" y="431060"/>
                  <a:pt x="185592" y="392392"/>
                  <a:pt x="185300" y="353723"/>
                </a:cubicBezTo>
                <a:close/>
                <a:moveTo>
                  <a:pt x="42514" y="555063"/>
                </a:moveTo>
                <a:lnTo>
                  <a:pt x="42514" y="29166"/>
                </a:lnTo>
                <a:lnTo>
                  <a:pt x="159175" y="1"/>
                </a:lnTo>
                <a:lnTo>
                  <a:pt x="159175" y="584228"/>
                </a:lnTo>
                <a:close/>
                <a:moveTo>
                  <a:pt x="0" y="560346"/>
                </a:moveTo>
                <a:lnTo>
                  <a:pt x="0" y="20347"/>
                </a:lnTo>
                <a:lnTo>
                  <a:pt x="2760" y="23938"/>
                </a:lnTo>
                <a:lnTo>
                  <a:pt x="33239" y="23938"/>
                </a:lnTo>
                <a:cubicBezTo>
                  <a:pt x="34609" y="23938"/>
                  <a:pt x="35895" y="23467"/>
                  <a:pt x="36000" y="20346"/>
                </a:cubicBezTo>
                <a:lnTo>
                  <a:pt x="36000" y="56034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28" name="Flowchart: Terminator 108">
            <a:extLst>
              <a:ext uri="{FF2B5EF4-FFF2-40B4-BE49-F238E27FC236}">
                <a16:creationId xmlns:a16="http://schemas.microsoft.com/office/drawing/2014/main" id="{FCAD613B-E7EE-6E49-BCE2-94C179C36133}"/>
              </a:ext>
            </a:extLst>
          </p:cNvPr>
          <p:cNvSpPr>
            <a:spLocks noChangeAspect="1"/>
          </p:cNvSpPr>
          <p:nvPr/>
        </p:nvSpPr>
        <p:spPr>
          <a:xfrm>
            <a:off x="1796299" y="5800054"/>
            <a:ext cx="441682" cy="544122"/>
          </a:xfrm>
          <a:custGeom>
            <a:avLst/>
            <a:gdLst/>
            <a:ahLst/>
            <a:cxnLst/>
            <a:rect l="l" t="t" r="r" b="b"/>
            <a:pathLst>
              <a:path w="502466" h="619007">
                <a:moveTo>
                  <a:pt x="62310" y="0"/>
                </a:moveTo>
                <a:lnTo>
                  <a:pt x="165160" y="24973"/>
                </a:lnTo>
                <a:lnTo>
                  <a:pt x="160699" y="58578"/>
                </a:lnTo>
                <a:cubicBezTo>
                  <a:pt x="165109" y="59765"/>
                  <a:pt x="169087" y="62708"/>
                  <a:pt x="171588" y="67055"/>
                </a:cubicBezTo>
                <a:cubicBezTo>
                  <a:pt x="176548" y="75671"/>
                  <a:pt x="173826" y="86536"/>
                  <a:pt x="165510" y="91323"/>
                </a:cubicBezTo>
                <a:lnTo>
                  <a:pt x="159280" y="94909"/>
                </a:lnTo>
                <a:cubicBezTo>
                  <a:pt x="166441" y="99120"/>
                  <a:pt x="169915" y="107980"/>
                  <a:pt x="168922" y="117558"/>
                </a:cubicBezTo>
                <a:cubicBezTo>
                  <a:pt x="167698" y="129368"/>
                  <a:pt x="160052" y="138716"/>
                  <a:pt x="149959" y="139485"/>
                </a:cubicBezTo>
                <a:lnTo>
                  <a:pt x="148216" y="152619"/>
                </a:lnTo>
                <a:lnTo>
                  <a:pt x="129295" y="148025"/>
                </a:lnTo>
                <a:cubicBezTo>
                  <a:pt x="127216" y="152098"/>
                  <a:pt x="123244" y="154415"/>
                  <a:pt x="118647" y="155414"/>
                </a:cubicBezTo>
                <a:lnTo>
                  <a:pt x="118607" y="155407"/>
                </a:lnTo>
                <a:cubicBezTo>
                  <a:pt x="122407" y="195700"/>
                  <a:pt x="125012" y="254870"/>
                  <a:pt x="125318" y="322663"/>
                </a:cubicBezTo>
                <a:cubicBezTo>
                  <a:pt x="138929" y="329480"/>
                  <a:pt x="156539" y="370083"/>
                  <a:pt x="170051" y="423924"/>
                </a:cubicBezTo>
                <a:cubicBezTo>
                  <a:pt x="181753" y="406999"/>
                  <a:pt x="200646" y="394058"/>
                  <a:pt x="223583" y="389075"/>
                </a:cubicBezTo>
                <a:cubicBezTo>
                  <a:pt x="245355" y="384345"/>
                  <a:pt x="266788" y="387651"/>
                  <a:pt x="283941" y="397181"/>
                </a:cubicBezTo>
                <a:cubicBezTo>
                  <a:pt x="295765" y="363827"/>
                  <a:pt x="326698" y="337430"/>
                  <a:pt x="366590" y="328764"/>
                </a:cubicBezTo>
                <a:cubicBezTo>
                  <a:pt x="428376" y="315340"/>
                  <a:pt x="488255" y="349531"/>
                  <a:pt x="500334" y="405129"/>
                </a:cubicBezTo>
                <a:cubicBezTo>
                  <a:pt x="506651" y="434209"/>
                  <a:pt x="498641" y="463387"/>
                  <a:pt x="480198" y="486121"/>
                </a:cubicBezTo>
                <a:cubicBezTo>
                  <a:pt x="485013" y="509189"/>
                  <a:pt x="464411" y="533137"/>
                  <a:pt x="434063" y="539730"/>
                </a:cubicBezTo>
                <a:lnTo>
                  <a:pt x="200973" y="590370"/>
                </a:lnTo>
                <a:lnTo>
                  <a:pt x="184228" y="588839"/>
                </a:lnTo>
                <a:cubicBezTo>
                  <a:pt x="184511" y="592582"/>
                  <a:pt x="182738" y="594332"/>
                  <a:pt x="180625" y="594791"/>
                </a:cubicBezTo>
                <a:lnTo>
                  <a:pt x="69712" y="618887"/>
                </a:lnTo>
                <a:cubicBezTo>
                  <a:pt x="55183" y="622044"/>
                  <a:pt x="30021" y="563005"/>
                  <a:pt x="13511" y="487012"/>
                </a:cubicBezTo>
                <a:cubicBezTo>
                  <a:pt x="-2991" y="411057"/>
                  <a:pt x="-4600" y="346927"/>
                  <a:pt x="9910" y="343733"/>
                </a:cubicBezTo>
                <a:cubicBezTo>
                  <a:pt x="10321" y="244001"/>
                  <a:pt x="14770" y="159876"/>
                  <a:pt x="20978" y="121724"/>
                </a:cubicBezTo>
                <a:lnTo>
                  <a:pt x="18831" y="121203"/>
                </a:lnTo>
                <a:lnTo>
                  <a:pt x="24467" y="105495"/>
                </a:lnTo>
                <a:cubicBezTo>
                  <a:pt x="23571" y="104504"/>
                  <a:pt x="23626" y="103510"/>
                  <a:pt x="23729" y="102508"/>
                </a:cubicBezTo>
                <a:lnTo>
                  <a:pt x="30834" y="8774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Oval 27">
            <a:extLst>
              <a:ext uri="{FF2B5EF4-FFF2-40B4-BE49-F238E27FC236}">
                <a16:creationId xmlns:a16="http://schemas.microsoft.com/office/drawing/2014/main" id="{0103714E-32B5-CE45-B860-0E6A2E92B010}"/>
              </a:ext>
            </a:extLst>
          </p:cNvPr>
          <p:cNvSpPr>
            <a:spLocks noChangeAspect="1"/>
          </p:cNvSpPr>
          <p:nvPr/>
        </p:nvSpPr>
        <p:spPr>
          <a:xfrm>
            <a:off x="785356" y="5726110"/>
            <a:ext cx="469606" cy="601574"/>
          </a:xfrm>
          <a:custGeom>
            <a:avLst/>
            <a:gdLst/>
            <a:ahLst/>
            <a:cxnLst/>
            <a:rect l="l" t="t" r="r" b="b"/>
            <a:pathLst>
              <a:path w="928721" h="1200150">
                <a:moveTo>
                  <a:pt x="556741" y="102564"/>
                </a:moveTo>
                <a:cubicBezTo>
                  <a:pt x="528309" y="96638"/>
                  <a:pt x="497474" y="106899"/>
                  <a:pt x="480799" y="127839"/>
                </a:cubicBezTo>
                <a:cubicBezTo>
                  <a:pt x="465643" y="115400"/>
                  <a:pt x="443056" y="111044"/>
                  <a:pt x="421743" y="116441"/>
                </a:cubicBezTo>
                <a:cubicBezTo>
                  <a:pt x="402378" y="121342"/>
                  <a:pt x="386679" y="133657"/>
                  <a:pt x="379746" y="149366"/>
                </a:cubicBezTo>
                <a:cubicBezTo>
                  <a:pt x="340781" y="125743"/>
                  <a:pt x="283132" y="140936"/>
                  <a:pt x="264734" y="179679"/>
                </a:cubicBezTo>
                <a:cubicBezTo>
                  <a:pt x="224373" y="166597"/>
                  <a:pt x="176867" y="178932"/>
                  <a:pt x="150606" y="209325"/>
                </a:cubicBezTo>
                <a:cubicBezTo>
                  <a:pt x="133987" y="228567"/>
                  <a:pt x="128272" y="252457"/>
                  <a:pt x="135030" y="274487"/>
                </a:cubicBezTo>
                <a:cubicBezTo>
                  <a:pt x="134915" y="274892"/>
                  <a:pt x="134785" y="275289"/>
                  <a:pt x="134670" y="275693"/>
                </a:cubicBezTo>
                <a:cubicBezTo>
                  <a:pt x="107053" y="281780"/>
                  <a:pt x="87216" y="302669"/>
                  <a:pt x="86893" y="326000"/>
                </a:cubicBezTo>
                <a:cubicBezTo>
                  <a:pt x="86622" y="345925"/>
                  <a:pt x="100684" y="363465"/>
                  <a:pt x="122690" y="370645"/>
                </a:cubicBezTo>
                <a:cubicBezTo>
                  <a:pt x="109807" y="385264"/>
                  <a:pt x="106934" y="403956"/>
                  <a:pt x="115125" y="419828"/>
                </a:cubicBezTo>
                <a:cubicBezTo>
                  <a:pt x="126435" y="441766"/>
                  <a:pt x="155889" y="452923"/>
                  <a:pt x="184776" y="446218"/>
                </a:cubicBezTo>
                <a:cubicBezTo>
                  <a:pt x="220246" y="484821"/>
                  <a:pt x="288803" y="490133"/>
                  <a:pt x="336752" y="458003"/>
                </a:cubicBezTo>
                <a:cubicBezTo>
                  <a:pt x="362052" y="481734"/>
                  <a:pt x="403447" y="489158"/>
                  <a:pt x="440487" y="476615"/>
                </a:cubicBezTo>
                <a:cubicBezTo>
                  <a:pt x="471919" y="465970"/>
                  <a:pt x="495023" y="442642"/>
                  <a:pt x="501170" y="415339"/>
                </a:cubicBezTo>
                <a:cubicBezTo>
                  <a:pt x="532937" y="426516"/>
                  <a:pt x="570985" y="418995"/>
                  <a:pt x="595053" y="396772"/>
                </a:cubicBezTo>
                <a:cubicBezTo>
                  <a:pt x="610894" y="382147"/>
                  <a:pt x="618657" y="362938"/>
                  <a:pt x="616324" y="344087"/>
                </a:cubicBezTo>
                <a:cubicBezTo>
                  <a:pt x="653440" y="334652"/>
                  <a:pt x="681125" y="307965"/>
                  <a:pt x="686373" y="276564"/>
                </a:cubicBezTo>
                <a:cubicBezTo>
                  <a:pt x="690320" y="252944"/>
                  <a:pt x="681006" y="229708"/>
                  <a:pt x="661076" y="213485"/>
                </a:cubicBezTo>
                <a:cubicBezTo>
                  <a:pt x="666370" y="199009"/>
                  <a:pt x="665146" y="183712"/>
                  <a:pt x="657646" y="170479"/>
                </a:cubicBezTo>
                <a:cubicBezTo>
                  <a:pt x="647323" y="152246"/>
                  <a:pt x="626304" y="140006"/>
                  <a:pt x="601674" y="137867"/>
                </a:cubicBezTo>
                <a:cubicBezTo>
                  <a:pt x="595276" y="120327"/>
                  <a:pt x="578405" y="107077"/>
                  <a:pt x="556741" y="102564"/>
                </a:cubicBezTo>
                <a:close/>
                <a:moveTo>
                  <a:pt x="434975" y="0"/>
                </a:moveTo>
                <a:cubicBezTo>
                  <a:pt x="659859" y="0"/>
                  <a:pt x="844884" y="173150"/>
                  <a:pt x="865392" y="395446"/>
                </a:cubicBezTo>
                <a:lnTo>
                  <a:pt x="928716" y="560383"/>
                </a:lnTo>
                <a:cubicBezTo>
                  <a:pt x="929004" y="582186"/>
                  <a:pt x="918547" y="599783"/>
                  <a:pt x="898314" y="611996"/>
                </a:cubicBezTo>
                <a:lnTo>
                  <a:pt x="843756" y="611996"/>
                </a:lnTo>
                <a:cubicBezTo>
                  <a:pt x="843756" y="649168"/>
                  <a:pt x="843756" y="686339"/>
                  <a:pt x="843756" y="723511"/>
                </a:cubicBezTo>
                <a:cubicBezTo>
                  <a:pt x="843756" y="834717"/>
                  <a:pt x="760292" y="926429"/>
                  <a:pt x="652462" y="938358"/>
                </a:cubicBezTo>
                <a:lnTo>
                  <a:pt x="652462" y="1200150"/>
                </a:lnTo>
                <a:lnTo>
                  <a:pt x="165100" y="1200150"/>
                </a:lnTo>
                <a:lnTo>
                  <a:pt x="165100" y="784947"/>
                </a:lnTo>
                <a:cubicBezTo>
                  <a:pt x="63996" y="705603"/>
                  <a:pt x="0" y="581047"/>
                  <a:pt x="0" y="441325"/>
                </a:cubicBezTo>
                <a:cubicBezTo>
                  <a:pt x="0" y="197588"/>
                  <a:pt x="194745" y="0"/>
                  <a:pt x="43497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0" name="Picture 2" descr="http://www.killmybill.be/wp-content/uploads/2015/10/BASE.jpg">
            <a:extLst>
              <a:ext uri="{FF2B5EF4-FFF2-40B4-BE49-F238E27FC236}">
                <a16:creationId xmlns:a16="http://schemas.microsoft.com/office/drawing/2014/main" id="{91F04037-F9E7-374E-886F-AC79B0F1E8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2375" y="4894993"/>
            <a:ext cx="679010" cy="299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2" name="Text Placeholder 4">
            <a:extLst>
              <a:ext uri="{FF2B5EF4-FFF2-40B4-BE49-F238E27FC236}">
                <a16:creationId xmlns:a16="http://schemas.microsoft.com/office/drawing/2014/main" id="{999B3593-BFCB-2E41-93AA-A08F1119AD95}"/>
              </a:ext>
            </a:extLst>
          </p:cNvPr>
          <p:cNvSpPr txBox="1">
            <a:spLocks/>
          </p:cNvSpPr>
          <p:nvPr/>
        </p:nvSpPr>
        <p:spPr>
          <a:xfrm>
            <a:off x="550863" y="1149941"/>
            <a:ext cx="1687117" cy="31133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mpany Size</a:t>
            </a:r>
          </a:p>
        </p:txBody>
      </p:sp>
      <p:sp>
        <p:nvSpPr>
          <p:cNvPr id="133" name="Text Placeholder 4">
            <a:extLst>
              <a:ext uri="{FF2B5EF4-FFF2-40B4-BE49-F238E27FC236}">
                <a16:creationId xmlns:a16="http://schemas.microsoft.com/office/drawing/2014/main" id="{DDC25949-6D81-E04F-9E1F-66F3F8799CB1}"/>
              </a:ext>
            </a:extLst>
          </p:cNvPr>
          <p:cNvSpPr txBox="1">
            <a:spLocks/>
          </p:cNvSpPr>
          <p:nvPr/>
        </p:nvSpPr>
        <p:spPr>
          <a:xfrm>
            <a:off x="561956" y="2408605"/>
            <a:ext cx="1687117" cy="31133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ales Channels</a:t>
            </a:r>
          </a:p>
        </p:txBody>
      </p:sp>
      <p:sp>
        <p:nvSpPr>
          <p:cNvPr id="134" name="Text Placeholder 4">
            <a:extLst>
              <a:ext uri="{FF2B5EF4-FFF2-40B4-BE49-F238E27FC236}">
                <a16:creationId xmlns:a16="http://schemas.microsoft.com/office/drawing/2014/main" id="{75C79DF5-FEA4-B040-A0CE-982B0507C616}"/>
              </a:ext>
            </a:extLst>
          </p:cNvPr>
          <p:cNvSpPr txBox="1">
            <a:spLocks/>
          </p:cNvSpPr>
          <p:nvPr/>
        </p:nvSpPr>
        <p:spPr>
          <a:xfrm>
            <a:off x="561956" y="3757838"/>
            <a:ext cx="2836175" cy="31133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roductFamilies</a:t>
            </a:r>
          </a:p>
        </p:txBody>
      </p:sp>
      <p:sp>
        <p:nvSpPr>
          <p:cNvPr id="135" name="Text Placeholder 4">
            <a:extLst>
              <a:ext uri="{FF2B5EF4-FFF2-40B4-BE49-F238E27FC236}">
                <a16:creationId xmlns:a16="http://schemas.microsoft.com/office/drawing/2014/main" id="{DCD737D5-C367-024C-B086-48C35BC82779}"/>
              </a:ext>
            </a:extLst>
          </p:cNvPr>
          <p:cNvSpPr txBox="1">
            <a:spLocks/>
          </p:cNvSpPr>
          <p:nvPr/>
        </p:nvSpPr>
        <p:spPr>
          <a:xfrm>
            <a:off x="612947" y="5109182"/>
            <a:ext cx="2836175" cy="31133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Industry Segments</a:t>
            </a:r>
          </a:p>
        </p:txBody>
      </p:sp>
      <p:sp>
        <p:nvSpPr>
          <p:cNvPr id="136" name="Text Placeholder 4">
            <a:extLst>
              <a:ext uri="{FF2B5EF4-FFF2-40B4-BE49-F238E27FC236}">
                <a16:creationId xmlns:a16="http://schemas.microsoft.com/office/drawing/2014/main" id="{38FA113F-A5DE-1147-B3C8-C75570CC0085}"/>
              </a:ext>
            </a:extLst>
          </p:cNvPr>
          <p:cNvSpPr txBox="1">
            <a:spLocks/>
          </p:cNvSpPr>
          <p:nvPr/>
        </p:nvSpPr>
        <p:spPr>
          <a:xfrm>
            <a:off x="769696" y="1452724"/>
            <a:ext cx="566676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LE</a:t>
            </a:r>
          </a:p>
        </p:txBody>
      </p:sp>
      <p:sp>
        <p:nvSpPr>
          <p:cNvPr id="137" name="Text Placeholder 4">
            <a:extLst>
              <a:ext uri="{FF2B5EF4-FFF2-40B4-BE49-F238E27FC236}">
                <a16:creationId xmlns:a16="http://schemas.microsoft.com/office/drawing/2014/main" id="{4CB49249-1609-6F41-8B2C-63B3B58EEFB9}"/>
              </a:ext>
            </a:extLst>
          </p:cNvPr>
          <p:cNvSpPr txBox="1">
            <a:spLocks/>
          </p:cNvSpPr>
          <p:nvPr/>
        </p:nvSpPr>
        <p:spPr>
          <a:xfrm>
            <a:off x="1705580" y="1452724"/>
            <a:ext cx="766818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ME</a:t>
            </a:r>
          </a:p>
        </p:txBody>
      </p:sp>
      <p:sp>
        <p:nvSpPr>
          <p:cNvPr id="138" name="Text Placeholder 4">
            <a:extLst>
              <a:ext uri="{FF2B5EF4-FFF2-40B4-BE49-F238E27FC236}">
                <a16:creationId xmlns:a16="http://schemas.microsoft.com/office/drawing/2014/main" id="{D2FD482E-BD4E-E442-AA48-061DB0157286}"/>
              </a:ext>
            </a:extLst>
          </p:cNvPr>
          <p:cNvSpPr txBox="1">
            <a:spLocks/>
          </p:cNvSpPr>
          <p:nvPr/>
        </p:nvSpPr>
        <p:spPr>
          <a:xfrm>
            <a:off x="2870869" y="1452724"/>
            <a:ext cx="633228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OHO</a:t>
            </a:r>
          </a:p>
        </p:txBody>
      </p:sp>
      <p:sp>
        <p:nvSpPr>
          <p:cNvPr id="139" name="Text Placeholder 4">
            <a:extLst>
              <a:ext uri="{FF2B5EF4-FFF2-40B4-BE49-F238E27FC236}">
                <a16:creationId xmlns:a16="http://schemas.microsoft.com/office/drawing/2014/main" id="{F691F89F-E820-D241-A8DC-552D38491F65}"/>
              </a:ext>
            </a:extLst>
          </p:cNvPr>
          <p:cNvSpPr txBox="1">
            <a:spLocks/>
          </p:cNvSpPr>
          <p:nvPr/>
        </p:nvSpPr>
        <p:spPr>
          <a:xfrm>
            <a:off x="573359" y="2726392"/>
            <a:ext cx="984725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Internal Sales</a:t>
            </a:r>
          </a:p>
        </p:txBody>
      </p:sp>
      <p:sp>
        <p:nvSpPr>
          <p:cNvPr id="140" name="Text Placeholder 4">
            <a:extLst>
              <a:ext uri="{FF2B5EF4-FFF2-40B4-BE49-F238E27FC236}">
                <a16:creationId xmlns:a16="http://schemas.microsoft.com/office/drawing/2014/main" id="{F54F0394-B2FC-F041-9C57-20F44AE44B4E}"/>
              </a:ext>
            </a:extLst>
          </p:cNvPr>
          <p:cNvSpPr txBox="1">
            <a:spLocks/>
          </p:cNvSpPr>
          <p:nvPr/>
        </p:nvSpPr>
        <p:spPr>
          <a:xfrm>
            <a:off x="1566631" y="2726392"/>
            <a:ext cx="984725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e-sales</a:t>
            </a:r>
          </a:p>
        </p:txBody>
      </p:sp>
      <p:sp>
        <p:nvSpPr>
          <p:cNvPr id="141" name="Text Placeholder 4">
            <a:extLst>
              <a:ext uri="{FF2B5EF4-FFF2-40B4-BE49-F238E27FC236}">
                <a16:creationId xmlns:a16="http://schemas.microsoft.com/office/drawing/2014/main" id="{9239A864-9563-1547-81F2-F1E0151CA523}"/>
              </a:ext>
            </a:extLst>
          </p:cNvPr>
          <p:cNvSpPr txBox="1">
            <a:spLocks/>
          </p:cNvSpPr>
          <p:nvPr/>
        </p:nvSpPr>
        <p:spPr>
          <a:xfrm>
            <a:off x="2682058" y="2726392"/>
            <a:ext cx="984725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Indirect Sales</a:t>
            </a:r>
          </a:p>
        </p:txBody>
      </p:sp>
      <p:sp>
        <p:nvSpPr>
          <p:cNvPr id="142" name="Text Placeholder 4">
            <a:extLst>
              <a:ext uri="{FF2B5EF4-FFF2-40B4-BE49-F238E27FC236}">
                <a16:creationId xmlns:a16="http://schemas.microsoft.com/office/drawing/2014/main" id="{46EC36A0-AC7C-4349-B654-720DA8670EFE}"/>
              </a:ext>
            </a:extLst>
          </p:cNvPr>
          <p:cNvSpPr txBox="1">
            <a:spLocks/>
          </p:cNvSpPr>
          <p:nvPr/>
        </p:nvSpPr>
        <p:spPr>
          <a:xfrm>
            <a:off x="3890138" y="2726392"/>
            <a:ext cx="984725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hops</a:t>
            </a:r>
          </a:p>
        </p:txBody>
      </p:sp>
      <p:sp>
        <p:nvSpPr>
          <p:cNvPr id="143" name="Text Placeholder 4">
            <a:extLst>
              <a:ext uri="{FF2B5EF4-FFF2-40B4-BE49-F238E27FC236}">
                <a16:creationId xmlns:a16="http://schemas.microsoft.com/office/drawing/2014/main" id="{0B9A2E24-FB48-6F48-B7A4-0CA81ADB0AD8}"/>
              </a:ext>
            </a:extLst>
          </p:cNvPr>
          <p:cNvSpPr txBox="1">
            <a:spLocks/>
          </p:cNvSpPr>
          <p:nvPr/>
        </p:nvSpPr>
        <p:spPr>
          <a:xfrm>
            <a:off x="4975881" y="2726392"/>
            <a:ext cx="1263941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Regional Sales</a:t>
            </a:r>
          </a:p>
        </p:txBody>
      </p:sp>
      <p:sp>
        <p:nvSpPr>
          <p:cNvPr id="144" name="Text Placeholder 4">
            <a:extLst>
              <a:ext uri="{FF2B5EF4-FFF2-40B4-BE49-F238E27FC236}">
                <a16:creationId xmlns:a16="http://schemas.microsoft.com/office/drawing/2014/main" id="{5D3D9229-A97F-D742-80F8-F0695E018426}"/>
              </a:ext>
            </a:extLst>
          </p:cNvPr>
          <p:cNvSpPr txBox="1">
            <a:spLocks/>
          </p:cNvSpPr>
          <p:nvPr/>
        </p:nvSpPr>
        <p:spPr>
          <a:xfrm>
            <a:off x="6240024" y="2726392"/>
            <a:ext cx="1263941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Enterprise Sales</a:t>
            </a:r>
          </a:p>
        </p:txBody>
      </p:sp>
      <p:sp>
        <p:nvSpPr>
          <p:cNvPr id="145" name="Text Placeholder 4">
            <a:extLst>
              <a:ext uri="{FF2B5EF4-FFF2-40B4-BE49-F238E27FC236}">
                <a16:creationId xmlns:a16="http://schemas.microsoft.com/office/drawing/2014/main" id="{476F3B09-C0C0-4C40-B02F-5C75761262DD}"/>
              </a:ext>
            </a:extLst>
          </p:cNvPr>
          <p:cNvSpPr txBox="1">
            <a:spLocks/>
          </p:cNvSpPr>
          <p:nvPr/>
        </p:nvSpPr>
        <p:spPr>
          <a:xfrm>
            <a:off x="573359" y="4076619"/>
            <a:ext cx="984725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Internet</a:t>
            </a:r>
          </a:p>
        </p:txBody>
      </p:sp>
      <p:sp>
        <p:nvSpPr>
          <p:cNvPr id="146" name="Text Placeholder 4">
            <a:extLst>
              <a:ext uri="{FF2B5EF4-FFF2-40B4-BE49-F238E27FC236}">
                <a16:creationId xmlns:a16="http://schemas.microsoft.com/office/drawing/2014/main" id="{4A048157-B452-7E45-BFA3-BA4D84229D85}"/>
              </a:ext>
            </a:extLst>
          </p:cNvPr>
          <p:cNvSpPr txBox="1">
            <a:spLocks/>
          </p:cNvSpPr>
          <p:nvPr/>
        </p:nvSpPr>
        <p:spPr>
          <a:xfrm>
            <a:off x="1562755" y="4076619"/>
            <a:ext cx="984725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ixed Tel</a:t>
            </a:r>
          </a:p>
        </p:txBody>
      </p:sp>
      <p:sp>
        <p:nvSpPr>
          <p:cNvPr id="147" name="Text Placeholder 4">
            <a:extLst>
              <a:ext uri="{FF2B5EF4-FFF2-40B4-BE49-F238E27FC236}">
                <a16:creationId xmlns:a16="http://schemas.microsoft.com/office/drawing/2014/main" id="{7CE66FC7-AF83-594B-9D33-65587C8232BC}"/>
              </a:ext>
            </a:extLst>
          </p:cNvPr>
          <p:cNvSpPr txBox="1">
            <a:spLocks/>
          </p:cNvSpPr>
          <p:nvPr/>
        </p:nvSpPr>
        <p:spPr>
          <a:xfrm>
            <a:off x="2601630" y="4076619"/>
            <a:ext cx="984725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Digitale TV</a:t>
            </a:r>
          </a:p>
        </p:txBody>
      </p:sp>
      <p:sp>
        <p:nvSpPr>
          <p:cNvPr id="148" name="Text Placeholder 4">
            <a:extLst>
              <a:ext uri="{FF2B5EF4-FFF2-40B4-BE49-F238E27FC236}">
                <a16:creationId xmlns:a16="http://schemas.microsoft.com/office/drawing/2014/main" id="{FD0D0096-54C9-2044-BDEC-7E89B35ACEDB}"/>
              </a:ext>
            </a:extLst>
          </p:cNvPr>
          <p:cNvSpPr txBox="1">
            <a:spLocks/>
          </p:cNvSpPr>
          <p:nvPr/>
        </p:nvSpPr>
        <p:spPr>
          <a:xfrm>
            <a:off x="3637488" y="4076619"/>
            <a:ext cx="984725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Mobiel</a:t>
            </a:r>
          </a:p>
        </p:txBody>
      </p:sp>
      <p:sp>
        <p:nvSpPr>
          <p:cNvPr id="149" name="Text Placeholder 4">
            <a:extLst>
              <a:ext uri="{FF2B5EF4-FFF2-40B4-BE49-F238E27FC236}">
                <a16:creationId xmlns:a16="http://schemas.microsoft.com/office/drawing/2014/main" id="{44F63217-7939-414B-A32F-97D4C9DEBA41}"/>
              </a:ext>
            </a:extLst>
          </p:cNvPr>
          <p:cNvSpPr txBox="1">
            <a:spLocks/>
          </p:cNvSpPr>
          <p:nvPr/>
        </p:nvSpPr>
        <p:spPr>
          <a:xfrm>
            <a:off x="4714056" y="4076619"/>
            <a:ext cx="984725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ecurity</a:t>
            </a:r>
          </a:p>
        </p:txBody>
      </p:sp>
      <p:sp>
        <p:nvSpPr>
          <p:cNvPr id="150" name="Text Placeholder 4">
            <a:extLst>
              <a:ext uri="{FF2B5EF4-FFF2-40B4-BE49-F238E27FC236}">
                <a16:creationId xmlns:a16="http://schemas.microsoft.com/office/drawing/2014/main" id="{19DF3A32-359E-0F46-B062-F1E326A359B0}"/>
              </a:ext>
            </a:extLst>
          </p:cNvPr>
          <p:cNvSpPr txBox="1">
            <a:spLocks/>
          </p:cNvSpPr>
          <p:nvPr/>
        </p:nvSpPr>
        <p:spPr>
          <a:xfrm>
            <a:off x="5868072" y="4076619"/>
            <a:ext cx="984725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Hosting/Cloud</a:t>
            </a:r>
          </a:p>
        </p:txBody>
      </p:sp>
      <p:sp>
        <p:nvSpPr>
          <p:cNvPr id="151" name="Text Placeholder 4">
            <a:extLst>
              <a:ext uri="{FF2B5EF4-FFF2-40B4-BE49-F238E27FC236}">
                <a16:creationId xmlns:a16="http://schemas.microsoft.com/office/drawing/2014/main" id="{541AD9FF-E8F0-F34D-9831-DC8C44F65548}"/>
              </a:ext>
            </a:extLst>
          </p:cNvPr>
          <p:cNvSpPr txBox="1">
            <a:spLocks/>
          </p:cNvSpPr>
          <p:nvPr/>
        </p:nvSpPr>
        <p:spPr>
          <a:xfrm>
            <a:off x="7026547" y="4076619"/>
            <a:ext cx="984725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Entertainment</a:t>
            </a:r>
          </a:p>
        </p:txBody>
      </p:sp>
      <p:sp>
        <p:nvSpPr>
          <p:cNvPr id="152" name="Text Placeholder 4">
            <a:extLst>
              <a:ext uri="{FF2B5EF4-FFF2-40B4-BE49-F238E27FC236}">
                <a16:creationId xmlns:a16="http://schemas.microsoft.com/office/drawing/2014/main" id="{E73390A4-D092-5F4D-8537-15A831F8600D}"/>
              </a:ext>
            </a:extLst>
          </p:cNvPr>
          <p:cNvSpPr txBox="1">
            <a:spLocks/>
          </p:cNvSpPr>
          <p:nvPr/>
        </p:nvSpPr>
        <p:spPr>
          <a:xfrm>
            <a:off x="573359" y="5430807"/>
            <a:ext cx="984725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Brain</a:t>
            </a:r>
          </a:p>
        </p:txBody>
      </p:sp>
      <p:sp>
        <p:nvSpPr>
          <p:cNvPr id="153" name="Text Placeholder 4">
            <a:extLst>
              <a:ext uri="{FF2B5EF4-FFF2-40B4-BE49-F238E27FC236}">
                <a16:creationId xmlns:a16="http://schemas.microsoft.com/office/drawing/2014/main" id="{7C395D5A-8A0C-4249-A2D7-DEEB51A899B4}"/>
              </a:ext>
            </a:extLst>
          </p:cNvPr>
          <p:cNvSpPr txBox="1">
            <a:spLocks/>
          </p:cNvSpPr>
          <p:nvPr/>
        </p:nvSpPr>
        <p:spPr>
          <a:xfrm>
            <a:off x="1538671" y="5430807"/>
            <a:ext cx="984725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Brawn</a:t>
            </a:r>
          </a:p>
        </p:txBody>
      </p:sp>
      <p:sp>
        <p:nvSpPr>
          <p:cNvPr id="154" name="Text Placeholder 4">
            <a:extLst>
              <a:ext uri="{FF2B5EF4-FFF2-40B4-BE49-F238E27FC236}">
                <a16:creationId xmlns:a16="http://schemas.microsoft.com/office/drawing/2014/main" id="{4CD08E7F-6D73-AB47-8102-5F530E20BE48}"/>
              </a:ext>
            </a:extLst>
          </p:cNvPr>
          <p:cNvSpPr txBox="1">
            <a:spLocks/>
          </p:cNvSpPr>
          <p:nvPr/>
        </p:nvSpPr>
        <p:spPr>
          <a:xfrm>
            <a:off x="2571600" y="5430807"/>
            <a:ext cx="984725" cy="3113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OS</a:t>
            </a:r>
          </a:p>
        </p:txBody>
      </p:sp>
    </p:spTree>
    <p:extLst>
      <p:ext uri="{BB962C8B-B14F-4D97-AF65-F5344CB8AC3E}">
        <p14:creationId xmlns:p14="http://schemas.microsoft.com/office/powerpoint/2010/main" val="357374895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4268" y="5102225"/>
            <a:ext cx="1166870" cy="1206500"/>
          </a:xfrm>
          <a:prstGeom prst="rect">
            <a:avLst/>
          </a:prstGeom>
        </p:spPr>
      </p:pic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1" y="6027234"/>
            <a:ext cx="11090275" cy="318067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12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 month 20XX </a:t>
            </a:r>
            <a:r>
              <a:rPr lang="mr-IN"/>
              <a:t>–</a:t>
            </a:r>
            <a:r>
              <a:rPr lang="en-US"/>
              <a:t> Venue – Presenter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FF2E7E0-0C85-774E-AEBA-126D763E9D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1" y="1766052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98859AA-24AF-884C-BE44-C3DBE1370D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59" y="2542512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597401950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19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5877AED-B432-954E-9526-F60C95863B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2377822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_NoSubhead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731B2AB-1FB2-1F45-8BB3-6AC770979F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3221"/>
            <a:ext cx="11090275" cy="54305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00EAC61-D75C-484F-B27A-AC6214CEF4B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562760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Only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8B4EE28-507A-D444-A662-037CB6F331C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2" y="549275"/>
            <a:ext cx="11090275" cy="5759450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48627762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Only_GraphicConte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10">
            <a:extLst>
              <a:ext uri="{FF2B5EF4-FFF2-40B4-BE49-F238E27FC236}">
                <a16:creationId xmlns:a16="http://schemas.microsoft.com/office/drawing/2014/main" id="{5C00C965-9744-7D4A-AD4A-9696C4632E9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50864" y="549276"/>
            <a:ext cx="11090275" cy="5759450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  <a:lvl2pPr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2pPr>
            <a:lvl3pPr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3pPr>
            <a:lvl4pPr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0514833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4268" y="5102225"/>
            <a:ext cx="1166870" cy="12065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9017073-B256-2448-930A-345F288C7B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1" y="1766052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AB37BA7B-DE3B-CC46-813C-1B400889E3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59" y="2542512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71185609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Background_01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add pictur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522717" y="-1891391"/>
            <a:ext cx="6400800" cy="6481573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2717" y="1074420"/>
            <a:ext cx="4118421" cy="55197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625976" y="1900046"/>
            <a:ext cx="401516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r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2549998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3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rgbClr val="E8327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6538782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Background_02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-930332" y="-1547611"/>
            <a:ext cx="7026332" cy="7114999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5" y="1508760"/>
            <a:ext cx="5545135" cy="545297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2323887"/>
            <a:ext cx="549732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64185153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Circl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7539786" y="-1569307"/>
            <a:ext cx="5754014" cy="5754012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`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1"/>
            <a:ext cx="11090275" cy="54433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87D71AB-BACC-2C4F-88EB-31C7CF4415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054056110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screen_Bullets_Pictur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8286202" y="3035639"/>
            <a:ext cx="5293406" cy="5293406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50863" y="3429000"/>
            <a:ext cx="5545137" cy="2879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289560"/>
            <a:ext cx="11090275" cy="53671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4" y="1058400"/>
            <a:ext cx="1109027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291899" y="2583849"/>
            <a:ext cx="1690301" cy="1690301"/>
          </a:xfrm>
          <a:prstGeom prst="ellipse">
            <a:avLst/>
          </a:prstGeom>
          <a:solidFill>
            <a:schemeClr val="accent2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ummy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F4B3FD9-A387-6947-BF63-6BFB9B618E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0860" y="1537199"/>
            <a:ext cx="554514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9731436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screen_Picture_Tex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-884692" y="3035639"/>
            <a:ext cx="5293406" cy="5293406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096000" y="1537200"/>
            <a:ext cx="5545139" cy="4771525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 marL="628650" indent="-171450">
              <a:lnSpc>
                <a:spcPct val="90000"/>
              </a:lnSpc>
              <a:buClr>
                <a:schemeClr val="accent2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5pPr>
            <a:lvl6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291863" y="3325639"/>
            <a:ext cx="2092325" cy="2092325"/>
          </a:xfrm>
          <a:prstGeom prst="ellipse">
            <a:avLst/>
          </a:prstGeom>
          <a:solidFill>
            <a:schemeClr val="accent2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ummy Text</a:t>
            </a:r>
          </a:p>
        </p:txBody>
      </p:sp>
    </p:spTree>
    <p:extLst>
      <p:ext uri="{BB962C8B-B14F-4D97-AF65-F5344CB8AC3E}">
        <p14:creationId xmlns:p14="http://schemas.microsoft.com/office/powerpoint/2010/main" val="3468311779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cContent_01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550864" y="1537200"/>
            <a:ext cx="11090275" cy="47715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1596199362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GraphicContent_02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550865" y="2162398"/>
            <a:ext cx="5545136" cy="414632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A4076932-AF3E-6843-9BD8-0856ED8A921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096002" y="2162398"/>
            <a:ext cx="5545136" cy="414632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B0C66DD-B383-5A4D-826C-8206B8E6FC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6809" y="1537198"/>
            <a:ext cx="5433247" cy="395701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DF9788C-6FDD-184F-BEC5-18D16E078D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2561694146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plit2_Text_Graphic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1"/>
            <a:ext cx="11090275" cy="55195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4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50860" y="1537200"/>
            <a:ext cx="5545139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6207892" y="2162398"/>
            <a:ext cx="5433247" cy="4146327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65B969F-7F54-9B47-9F9C-E8699BDD002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1285121976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plit3_GraphicContent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21" hasCustomPrompt="1"/>
          </p:nvPr>
        </p:nvSpPr>
        <p:spPr>
          <a:xfrm>
            <a:off x="550863" y="2151573"/>
            <a:ext cx="5444823" cy="4157152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6207892" y="2151574"/>
            <a:ext cx="5433247" cy="161523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59080"/>
            <a:ext cx="11090275" cy="56719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BB9899A-7332-2543-AA31-75A80A2253F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2439" y="1531786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A82464C-5DA5-AE46-A8BB-63FEEF5A8F3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C17CE1B-488E-704E-A955-CE21B3BFA07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07891" y="40322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21" name="Content Placeholder 10">
            <a:extLst>
              <a:ext uri="{FF2B5EF4-FFF2-40B4-BE49-F238E27FC236}">
                <a16:creationId xmlns:a16="http://schemas.microsoft.com/office/drawing/2014/main" id="{F02E5D4A-53A5-784B-B43F-7EE7B3E5D1E3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6207891" y="4693487"/>
            <a:ext cx="5433247" cy="161523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822261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4_GraphicContent_02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550862" y="1537200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3" hasCustomPrompt="1"/>
          </p:nvPr>
        </p:nvSpPr>
        <p:spPr>
          <a:xfrm>
            <a:off x="550863" y="4160517"/>
            <a:ext cx="5446800" cy="188927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0864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0866" y="10584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194339" y="10584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3658501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194339" y="36585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0" name="Content Placeholder 10"/>
          <p:cNvSpPr>
            <a:spLocks noGrp="1"/>
          </p:cNvSpPr>
          <p:nvPr>
            <p:ph sz="quarter" idx="21" hasCustomPrompt="1"/>
          </p:nvPr>
        </p:nvSpPr>
        <p:spPr>
          <a:xfrm>
            <a:off x="6194339" y="1537416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91B0C169-76CA-0A46-8341-12E8CFC4170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4339" y="4147820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4251658226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2_Bullets_Bullets_01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0"/>
            <a:ext cx="11090275" cy="54433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6" y="1058400"/>
            <a:ext cx="541416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DD1F4E9-8922-9246-893A-4AAD1DAB57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26974" y="1058400"/>
            <a:ext cx="541416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7F948E1-88E7-144B-82DC-47F77472DD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0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A9F090C-39E6-5A49-8E48-7ED95D33FCC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26974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154792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3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rgbClr val="E8327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E8327C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E8327C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E8327C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719465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2_Text_Text_02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39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50860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226740" y="1537200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 cap="none" baseline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Next Subhead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226740" y="2234109"/>
            <a:ext cx="5414400" cy="4074617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 marL="628650" indent="-171450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7745572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4_Tex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451518"/>
            <a:ext cx="5414400" cy="467408"/>
          </a:xfrm>
          <a:prstGeom prst="rect">
            <a:avLst/>
          </a:prstGeom>
        </p:spPr>
        <p:txBody>
          <a:bodyPr lIns="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50863" y="2106592"/>
            <a:ext cx="5414400" cy="1697468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buClr>
                <a:schemeClr val="accent2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226740" y="1455593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226740" y="2106592"/>
            <a:ext cx="5414400" cy="1697468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indent="-171450">
              <a:buClr>
                <a:schemeClr val="accent2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3989890"/>
            <a:ext cx="5414400" cy="467408"/>
          </a:xfrm>
          <a:prstGeom prst="rect">
            <a:avLst/>
          </a:prstGeom>
        </p:spPr>
        <p:txBody>
          <a:bodyPr lIns="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50862" y="4604187"/>
            <a:ext cx="5414400" cy="1697468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buClr>
                <a:schemeClr val="accent2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26740" y="3989890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226740" y="4604187"/>
            <a:ext cx="5414400" cy="1697468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indent="-171450">
              <a:buClr>
                <a:schemeClr val="accent2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2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6096000" y="1690688"/>
            <a:ext cx="0" cy="4375872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550863" y="3896975"/>
            <a:ext cx="11090275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7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550863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2B3B01F4-C432-5B44-94B6-85381CDF171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307560079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_01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50862" y="1850637"/>
            <a:ext cx="11090276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4730363"/>
            <a:ext cx="11090276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1633877668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_02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4914066" y="549275"/>
            <a:ext cx="2363868" cy="2363868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50863" y="4220815"/>
            <a:ext cx="11090275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i="1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“Lorem Ipsum”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5674527"/>
            <a:ext cx="11090275" cy="2492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1800" b="1" i="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John Doe</a:t>
            </a:r>
          </a:p>
        </p:txBody>
      </p:sp>
    </p:spTree>
    <p:extLst>
      <p:ext uri="{BB962C8B-B14F-4D97-AF65-F5344CB8AC3E}">
        <p14:creationId xmlns:p14="http://schemas.microsoft.com/office/powerpoint/2010/main" val="1484686048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s_Circles_01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1145596" y="2655193"/>
            <a:ext cx="5435687" cy="5435687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18"/>
          <p:cNvSpPr>
            <a:spLocks noGrp="1"/>
          </p:cNvSpPr>
          <p:nvPr>
            <p:ph type="pic" sz="quarter" idx="11"/>
          </p:nvPr>
        </p:nvSpPr>
        <p:spPr>
          <a:xfrm>
            <a:off x="7707220" y="3678137"/>
            <a:ext cx="3933918" cy="3933918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18"/>
          <p:cNvSpPr>
            <a:spLocks noGrp="1"/>
          </p:cNvSpPr>
          <p:nvPr>
            <p:ph type="pic" sz="quarter" idx="12"/>
          </p:nvPr>
        </p:nvSpPr>
        <p:spPr>
          <a:xfrm>
            <a:off x="5488455" y="-745946"/>
            <a:ext cx="4067370" cy="406737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281939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9E6DAA9-0566-3143-95E3-B552E185BB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850397211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_Pin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4268" y="5102225"/>
            <a:ext cx="1166870" cy="1206500"/>
          </a:xfrm>
          <a:prstGeom prst="rect">
            <a:avLst/>
          </a:prstGeom>
        </p:spPr>
      </p:pic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1" y="6027234"/>
            <a:ext cx="11090275" cy="318067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12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 month 20XX </a:t>
            </a:r>
            <a:r>
              <a:rPr lang="mr-IN"/>
              <a:t>–</a:t>
            </a:r>
            <a:r>
              <a:rPr lang="en-US"/>
              <a:t> Venue – Presenter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4144A66-2CA2-3141-B0DC-0924E69024C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1" y="1766052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9B6075-0632-6241-8BA9-3BEF394DCC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59" y="2542512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762390834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19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5877AED-B432-954E-9526-F60C95863B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66570590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_NoSubhead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731B2AB-1FB2-1F45-8BB3-6AC770979F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3221"/>
            <a:ext cx="11090275" cy="54305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00EAC61-D75C-484F-B27A-AC6214CEF4B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765285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Only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8B4EE28-507A-D444-A662-037CB6F331C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2" y="549275"/>
            <a:ext cx="11090275" cy="5759450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64339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Only_GraphicContent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10">
            <a:extLst>
              <a:ext uri="{FF2B5EF4-FFF2-40B4-BE49-F238E27FC236}">
                <a16:creationId xmlns:a16="http://schemas.microsoft.com/office/drawing/2014/main" id="{5C00C965-9744-7D4A-AD4A-9696C4632E9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50864" y="549276"/>
            <a:ext cx="11090275" cy="5759450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  <a:lvl2pPr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2pPr>
            <a:lvl3pPr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55396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3_SplitScreen">
    <p:bg>
      <p:bgPr>
        <a:solidFill>
          <a:srgbClr val="E8327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70" y="244301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66" y="2615238"/>
            <a:ext cx="455569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E8327C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05" y="3913294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2211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Pin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4268" y="5102225"/>
            <a:ext cx="1166870" cy="12065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38570FF-3B4A-5248-9EB0-4BE61F55DD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1" y="1766052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553B5E8-8AE5-D349-8046-79D3F7122B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59" y="2542512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4126498899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Background_01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add pictur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522717" y="-1891391"/>
            <a:ext cx="6400800" cy="6481573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2717" y="1074420"/>
            <a:ext cx="4118421" cy="55197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625976" y="1900046"/>
            <a:ext cx="401516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r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98819087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Background_02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-930332" y="-1547611"/>
            <a:ext cx="7026332" cy="7114999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5" y="1508760"/>
            <a:ext cx="5545135" cy="545297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2323887"/>
            <a:ext cx="549732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65937185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Circle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7539786" y="-1569307"/>
            <a:ext cx="5754014" cy="5754012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`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1"/>
            <a:ext cx="11090275" cy="54433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87D71AB-BACC-2C4F-88EB-31C7CF4415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330391028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screen_Bullets_Picture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8286202" y="3035639"/>
            <a:ext cx="5293406" cy="5293406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50863" y="3429000"/>
            <a:ext cx="5545137" cy="2879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289560"/>
            <a:ext cx="11090275" cy="53671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4" y="1058400"/>
            <a:ext cx="1109027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291899" y="2583849"/>
            <a:ext cx="1690301" cy="1690301"/>
          </a:xfrm>
          <a:prstGeom prst="ellipse">
            <a:avLst/>
          </a:prstGeom>
          <a:solidFill>
            <a:schemeClr val="accent3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ummy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F4B3FD9-A387-6947-BF63-6BFB9B618E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0860" y="1537199"/>
            <a:ext cx="554514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99238607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screen_Picture_Text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-884692" y="3035639"/>
            <a:ext cx="5293406" cy="5293406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096000" y="1537200"/>
            <a:ext cx="5545139" cy="4771525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 marL="628650" indent="-171450">
              <a:lnSpc>
                <a:spcPct val="90000"/>
              </a:lnSpc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  <a:lvl6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291863" y="3325639"/>
            <a:ext cx="2092325" cy="2092325"/>
          </a:xfrm>
          <a:prstGeom prst="ellipse">
            <a:avLst/>
          </a:prstGeom>
          <a:solidFill>
            <a:schemeClr val="accent3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ummy Text</a:t>
            </a:r>
          </a:p>
        </p:txBody>
      </p:sp>
    </p:spTree>
    <p:extLst>
      <p:ext uri="{BB962C8B-B14F-4D97-AF65-F5344CB8AC3E}">
        <p14:creationId xmlns:p14="http://schemas.microsoft.com/office/powerpoint/2010/main" val="1271790222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cContent_01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550864" y="1537200"/>
            <a:ext cx="11090275" cy="47715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1258377992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GraphicContent_02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550865" y="2162398"/>
            <a:ext cx="5545136" cy="414632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A4076932-AF3E-6843-9BD8-0856ED8A921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096002" y="2162398"/>
            <a:ext cx="5545136" cy="414632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B0C66DD-B383-5A4D-826C-8206B8E6FC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6809" y="1537198"/>
            <a:ext cx="5433247" cy="395701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DF9788C-6FDD-184F-BEC5-18D16E078D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1204159482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plit2_Text_Graphic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1"/>
            <a:ext cx="11090275" cy="55195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4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50860" y="1537200"/>
            <a:ext cx="5545139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6207892" y="2162398"/>
            <a:ext cx="5433247" cy="4146327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65B969F-7F54-9B47-9F9C-E8699BDD002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990068776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plit3_GraphicContent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21" hasCustomPrompt="1"/>
          </p:nvPr>
        </p:nvSpPr>
        <p:spPr>
          <a:xfrm>
            <a:off x="550863" y="2151573"/>
            <a:ext cx="5444823" cy="4157152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6207892" y="2151574"/>
            <a:ext cx="5433247" cy="161523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59080"/>
            <a:ext cx="11090275" cy="56719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BB9899A-7332-2543-AA31-75A80A2253F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2439" y="1531786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A82464C-5DA5-AE46-A8BB-63FEEF5A8F3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C17CE1B-488E-704E-A955-CE21B3BFA07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07891" y="40322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21" name="Content Placeholder 10">
            <a:extLst>
              <a:ext uri="{FF2B5EF4-FFF2-40B4-BE49-F238E27FC236}">
                <a16:creationId xmlns:a16="http://schemas.microsoft.com/office/drawing/2014/main" id="{F02E5D4A-53A5-784B-B43F-7EE7B3E5D1E3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6207891" y="4693487"/>
            <a:ext cx="5433247" cy="161523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0988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3_SplitScreen_Content">
    <p:bg>
      <p:bgPr>
        <a:solidFill>
          <a:srgbClr val="E8327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41" y="2549006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00" y="1839921"/>
            <a:ext cx="3524249" cy="709083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57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914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70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82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08" y="3688109"/>
            <a:ext cx="4449233" cy="24278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570" indent="0" algn="ctr">
              <a:buFontTx/>
              <a:buNone/>
              <a:defRPr sz="2400" baseline="0">
                <a:latin typeface="Arial"/>
              </a:defRPr>
            </a:lvl2pPr>
            <a:lvl3pPr marL="1219140" indent="0" algn="ctr">
              <a:buFontTx/>
              <a:buNone/>
              <a:defRPr sz="2400" baseline="0">
                <a:latin typeface="Arial"/>
              </a:defRPr>
            </a:lvl3pPr>
            <a:lvl4pPr marL="1828709" indent="0" algn="ctr">
              <a:buFontTx/>
              <a:buNone/>
              <a:defRPr sz="2400" baseline="0">
                <a:latin typeface="Arial"/>
              </a:defRPr>
            </a:lvl4pPr>
            <a:lvl5pPr marL="24382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098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4_GraphicContent_02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550862" y="1537200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3" hasCustomPrompt="1"/>
          </p:nvPr>
        </p:nvSpPr>
        <p:spPr>
          <a:xfrm>
            <a:off x="550863" y="4160517"/>
            <a:ext cx="5446800" cy="188927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0864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0866" y="10584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194339" y="10584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3658501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194339" y="36585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0" name="Content Placeholder 10"/>
          <p:cNvSpPr>
            <a:spLocks noGrp="1"/>
          </p:cNvSpPr>
          <p:nvPr>
            <p:ph sz="quarter" idx="21" hasCustomPrompt="1"/>
          </p:nvPr>
        </p:nvSpPr>
        <p:spPr>
          <a:xfrm>
            <a:off x="6194339" y="1537416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91B0C169-76CA-0A46-8341-12E8CFC4170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4339" y="4147820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225788012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2_Bullets_Bullets_01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0"/>
            <a:ext cx="11090275" cy="54433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6" y="1058400"/>
            <a:ext cx="541416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DD1F4E9-8922-9246-893A-4AAD1DAB57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26974" y="1058400"/>
            <a:ext cx="541416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7F948E1-88E7-144B-82DC-47F77472DD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0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A9F090C-39E6-5A49-8E48-7ED95D33FCC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26974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5797645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2_Text_Text_02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39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50860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226740" y="1537200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 cap="none" baseline="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Next Subhead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226740" y="2234109"/>
            <a:ext cx="5414400" cy="4074617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 marL="628650" indent="-171450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2570405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4_Text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451518"/>
            <a:ext cx="5414400" cy="467408"/>
          </a:xfrm>
          <a:prstGeom prst="rect">
            <a:avLst/>
          </a:prstGeom>
        </p:spPr>
        <p:txBody>
          <a:bodyPr lIns="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50863" y="2106592"/>
            <a:ext cx="5414400" cy="1697468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buClr>
                <a:schemeClr val="accent3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226740" y="1455593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226740" y="2106592"/>
            <a:ext cx="5414400" cy="1697468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indent="-171450">
              <a:buClr>
                <a:schemeClr val="accent3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3989890"/>
            <a:ext cx="5414400" cy="467408"/>
          </a:xfrm>
          <a:prstGeom prst="rect">
            <a:avLst/>
          </a:prstGeom>
        </p:spPr>
        <p:txBody>
          <a:bodyPr lIns="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50862" y="4604187"/>
            <a:ext cx="5414400" cy="1697468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buClr>
                <a:schemeClr val="accent3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26740" y="3989890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226740" y="4604187"/>
            <a:ext cx="5414400" cy="1697468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indent="-171450">
              <a:buClr>
                <a:schemeClr val="accent3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6096000" y="1690688"/>
            <a:ext cx="0" cy="4375872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550863" y="3896975"/>
            <a:ext cx="11090275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7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550863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2B3B01F4-C432-5B44-94B6-85381CDF171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246495393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_01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50862" y="1850637"/>
            <a:ext cx="11090276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4730363"/>
            <a:ext cx="11090276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cap="none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1642710705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_02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4914066" y="549275"/>
            <a:ext cx="2363868" cy="2363868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50863" y="4220815"/>
            <a:ext cx="11090275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i="1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“Lorem Ipsum”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5674527"/>
            <a:ext cx="11090275" cy="2492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1800" b="1" i="0" cap="none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John Doe</a:t>
            </a:r>
          </a:p>
        </p:txBody>
      </p:sp>
    </p:spTree>
    <p:extLst>
      <p:ext uri="{BB962C8B-B14F-4D97-AF65-F5344CB8AC3E}">
        <p14:creationId xmlns:p14="http://schemas.microsoft.com/office/powerpoint/2010/main" val="4141714841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s_Circles_01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1145596" y="2655193"/>
            <a:ext cx="5435687" cy="5435687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18"/>
          <p:cNvSpPr>
            <a:spLocks noGrp="1"/>
          </p:cNvSpPr>
          <p:nvPr>
            <p:ph type="pic" sz="quarter" idx="11"/>
          </p:nvPr>
        </p:nvSpPr>
        <p:spPr>
          <a:xfrm>
            <a:off x="7707220" y="3678137"/>
            <a:ext cx="3933918" cy="3933918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18"/>
          <p:cNvSpPr>
            <a:spLocks noGrp="1"/>
          </p:cNvSpPr>
          <p:nvPr>
            <p:ph type="pic" sz="quarter" idx="12"/>
          </p:nvPr>
        </p:nvSpPr>
        <p:spPr>
          <a:xfrm>
            <a:off x="5488455" y="-745946"/>
            <a:ext cx="4067370" cy="406737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281939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9E6DAA9-0566-3143-95E3-B552E185BB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68991714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_Red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4268" y="5102225"/>
            <a:ext cx="1166870" cy="1206500"/>
          </a:xfrm>
          <a:prstGeom prst="rect">
            <a:avLst/>
          </a:prstGeom>
        </p:spPr>
      </p:pic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1" y="6027234"/>
            <a:ext cx="11090275" cy="318067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12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 month 20XX </a:t>
            </a:r>
            <a:r>
              <a:rPr lang="mr-IN"/>
              <a:t>–</a:t>
            </a:r>
            <a:r>
              <a:rPr lang="en-US"/>
              <a:t> Venue – Presenter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EAF5FBF0-CF1F-D54C-86C0-F08CB74866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1" y="1766052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2D992D1A-BDA5-2F44-9984-4EB0403A57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59" y="2542512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466414966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19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5877AED-B432-954E-9526-F60C95863B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39228869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_NoSubhead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731B2AB-1FB2-1F45-8BB3-6AC770979F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3221"/>
            <a:ext cx="11090275" cy="54305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00EAC61-D75C-484F-B27A-AC6214CEF4B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38088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3_SplitScreen_Bullets">
    <p:bg>
      <p:bgPr>
        <a:solidFill>
          <a:srgbClr val="E8327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26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66"/>
            <a:ext cx="1018801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25" y="2319619"/>
            <a:ext cx="4301825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42173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Onl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8B4EE28-507A-D444-A662-037CB6F331C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2" y="549275"/>
            <a:ext cx="11090275" cy="5759450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5907610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Only_GraphicConten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10">
            <a:extLst>
              <a:ext uri="{FF2B5EF4-FFF2-40B4-BE49-F238E27FC236}">
                <a16:creationId xmlns:a16="http://schemas.microsoft.com/office/drawing/2014/main" id="{5C00C965-9744-7D4A-AD4A-9696C4632E9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50864" y="549276"/>
            <a:ext cx="11090275" cy="5759450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  <a:lvl2pPr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2pPr>
            <a:lvl3pPr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3pPr>
            <a:lvl4pPr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55960660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Red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4268" y="5102225"/>
            <a:ext cx="1166870" cy="12065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821BDEB-25FF-2346-9345-678D535247E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1" y="1766052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B9181E1-BCA2-554E-AEF6-B35A2C3451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59" y="2542512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4079929041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Background_01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add pictur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522717" y="-1891391"/>
            <a:ext cx="6400800" cy="6481573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2717" y="1074420"/>
            <a:ext cx="4118421" cy="55197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625976" y="1900046"/>
            <a:ext cx="401516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r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883482069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Background_02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-930332" y="-1547611"/>
            <a:ext cx="7026332" cy="7114999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5" y="1508760"/>
            <a:ext cx="5545135" cy="545297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2323887"/>
            <a:ext cx="549732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914273786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Circl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7539786" y="-1569307"/>
            <a:ext cx="5754014" cy="5754012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`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1"/>
            <a:ext cx="11090275" cy="54433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87D71AB-BACC-2C4F-88EB-31C7CF4415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61247992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screen_Bullets_Pictur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8286202" y="3035639"/>
            <a:ext cx="5293406" cy="5293406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50863" y="3429000"/>
            <a:ext cx="5545137" cy="2879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289560"/>
            <a:ext cx="11090275" cy="53671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4" y="1058400"/>
            <a:ext cx="1109027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291899" y="2583849"/>
            <a:ext cx="1690301" cy="1690301"/>
          </a:xfrm>
          <a:prstGeom prst="ellipse">
            <a:avLst/>
          </a:prstGeom>
          <a:solidFill>
            <a:schemeClr val="accent4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ummy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F4B3FD9-A387-6947-BF63-6BFB9B618E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0860" y="1537199"/>
            <a:ext cx="554514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16484482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screen_Picture_Tex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-884692" y="3035639"/>
            <a:ext cx="5293406" cy="5293406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096000" y="1537200"/>
            <a:ext cx="5545139" cy="4771525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 marL="628650" indent="-171450">
              <a:lnSpc>
                <a:spcPct val="90000"/>
              </a:lnSpc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5pPr>
            <a:lvl6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291863" y="3325639"/>
            <a:ext cx="2092325" cy="2092325"/>
          </a:xfrm>
          <a:prstGeom prst="ellipse">
            <a:avLst/>
          </a:prstGeom>
          <a:solidFill>
            <a:schemeClr val="accent4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ummy Text</a:t>
            </a:r>
          </a:p>
        </p:txBody>
      </p:sp>
    </p:spTree>
    <p:extLst>
      <p:ext uri="{BB962C8B-B14F-4D97-AF65-F5344CB8AC3E}">
        <p14:creationId xmlns:p14="http://schemas.microsoft.com/office/powerpoint/2010/main" val="2580091069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cContent_01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550864" y="1537200"/>
            <a:ext cx="11090275" cy="47715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2659266283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GraphicContent_02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550865" y="2162398"/>
            <a:ext cx="5545136" cy="414632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A4076932-AF3E-6843-9BD8-0856ED8A921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096002" y="2162398"/>
            <a:ext cx="5545136" cy="414632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B0C66DD-B383-5A4D-826C-8206B8E6FC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6809" y="1537198"/>
            <a:ext cx="5433247" cy="395701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DF9788C-6FDD-184F-BEC5-18D16E078D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7483981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4">
    <p:bg>
      <p:bgPr>
        <a:solidFill>
          <a:srgbClr val="EA54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698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25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74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02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23511457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plit2_Text_Graphic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1"/>
            <a:ext cx="11090275" cy="55195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4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50860" y="1537200"/>
            <a:ext cx="5545139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6207892" y="2162398"/>
            <a:ext cx="5433247" cy="4146327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65B969F-7F54-9B47-9F9C-E8699BDD002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1388057837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plit3_GraphicContent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21" hasCustomPrompt="1"/>
          </p:nvPr>
        </p:nvSpPr>
        <p:spPr>
          <a:xfrm>
            <a:off x="550863" y="2151573"/>
            <a:ext cx="5444823" cy="4157152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6207892" y="2151574"/>
            <a:ext cx="5433247" cy="161523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59080"/>
            <a:ext cx="11090275" cy="56719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BB9899A-7332-2543-AA31-75A80A2253F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2439" y="1531786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A82464C-5DA5-AE46-A8BB-63FEEF5A8F3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C17CE1B-488E-704E-A955-CE21B3BFA07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07891" y="40322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21" name="Content Placeholder 10">
            <a:extLst>
              <a:ext uri="{FF2B5EF4-FFF2-40B4-BE49-F238E27FC236}">
                <a16:creationId xmlns:a16="http://schemas.microsoft.com/office/drawing/2014/main" id="{F02E5D4A-53A5-784B-B43F-7EE7B3E5D1E3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6207891" y="4693487"/>
            <a:ext cx="5433247" cy="161523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363763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4_GraphicContent_02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550862" y="1537200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3" hasCustomPrompt="1"/>
          </p:nvPr>
        </p:nvSpPr>
        <p:spPr>
          <a:xfrm>
            <a:off x="550863" y="4160517"/>
            <a:ext cx="5446800" cy="188927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0864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0866" y="10584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194339" y="10584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3658501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194339" y="36585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0" name="Content Placeholder 10"/>
          <p:cNvSpPr>
            <a:spLocks noGrp="1"/>
          </p:cNvSpPr>
          <p:nvPr>
            <p:ph sz="quarter" idx="21" hasCustomPrompt="1"/>
          </p:nvPr>
        </p:nvSpPr>
        <p:spPr>
          <a:xfrm>
            <a:off x="6194339" y="1537416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91B0C169-76CA-0A46-8341-12E8CFC4170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4339" y="4147820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2932931497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2_Bullets_Bullets_01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0"/>
            <a:ext cx="11090275" cy="54433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6" y="1058400"/>
            <a:ext cx="541416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DD1F4E9-8922-9246-893A-4AAD1DAB57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26974" y="1058400"/>
            <a:ext cx="541416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7F948E1-88E7-144B-82DC-47F77472DD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0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A9F090C-39E6-5A49-8E48-7ED95D33FCC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26974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92244550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2_Text_Text_02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39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50860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226740" y="1537200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 cap="none" baseline="0">
                <a:solidFill>
                  <a:schemeClr val="accent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Next Subhead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226740" y="2234109"/>
            <a:ext cx="5414400" cy="4074617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 marL="628650" indent="-171450"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94463364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4_Tex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451518"/>
            <a:ext cx="5414400" cy="467408"/>
          </a:xfrm>
          <a:prstGeom prst="rect">
            <a:avLst/>
          </a:prstGeom>
        </p:spPr>
        <p:txBody>
          <a:bodyPr lIns="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50863" y="2106592"/>
            <a:ext cx="5414400" cy="1697468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226740" y="1455593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226740" y="2106592"/>
            <a:ext cx="5414400" cy="1697468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3989890"/>
            <a:ext cx="5414400" cy="467408"/>
          </a:xfrm>
          <a:prstGeom prst="rect">
            <a:avLst/>
          </a:prstGeom>
        </p:spPr>
        <p:txBody>
          <a:bodyPr lIns="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50862" y="4604187"/>
            <a:ext cx="5414400" cy="1697468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26740" y="3989890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226740" y="4604187"/>
            <a:ext cx="5414400" cy="1697468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4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6096000" y="1690688"/>
            <a:ext cx="0" cy="4375872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550863" y="3896975"/>
            <a:ext cx="11090275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7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550863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2B3B01F4-C432-5B44-94B6-85381CDF171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583048239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_01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50862" y="1850637"/>
            <a:ext cx="11090276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4730363"/>
            <a:ext cx="11090276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cap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3216818579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_02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4914066" y="549275"/>
            <a:ext cx="2363868" cy="2363868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50863" y="4220815"/>
            <a:ext cx="11090275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i="1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“Lorem Ipsum”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5674527"/>
            <a:ext cx="11090275" cy="2492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1800" b="1" i="0" cap="none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John Doe</a:t>
            </a:r>
          </a:p>
        </p:txBody>
      </p:sp>
    </p:spTree>
    <p:extLst>
      <p:ext uri="{BB962C8B-B14F-4D97-AF65-F5344CB8AC3E}">
        <p14:creationId xmlns:p14="http://schemas.microsoft.com/office/powerpoint/2010/main" val="974046984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s_Circles_01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1145596" y="2655193"/>
            <a:ext cx="5435687" cy="5435687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18"/>
          <p:cNvSpPr>
            <a:spLocks noGrp="1"/>
          </p:cNvSpPr>
          <p:nvPr>
            <p:ph type="pic" sz="quarter" idx="11"/>
          </p:nvPr>
        </p:nvSpPr>
        <p:spPr>
          <a:xfrm>
            <a:off x="7707220" y="3678137"/>
            <a:ext cx="3933918" cy="3933918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18"/>
          <p:cNvSpPr>
            <a:spLocks noGrp="1"/>
          </p:cNvSpPr>
          <p:nvPr>
            <p:ph type="pic" sz="quarter" idx="12"/>
          </p:nvPr>
        </p:nvSpPr>
        <p:spPr>
          <a:xfrm>
            <a:off x="5488455" y="-745946"/>
            <a:ext cx="4067370" cy="406737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281939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9E6DAA9-0566-3143-95E3-B552E185BB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104366450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_Blu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4268" y="5102225"/>
            <a:ext cx="1166870" cy="1206500"/>
          </a:xfrm>
          <a:prstGeom prst="rect">
            <a:avLst/>
          </a:prstGeom>
        </p:spPr>
      </p:pic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1" y="6027234"/>
            <a:ext cx="11090275" cy="318067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12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 month 20XX </a:t>
            </a:r>
            <a:r>
              <a:rPr lang="mr-IN"/>
              <a:t>–</a:t>
            </a:r>
            <a:r>
              <a:rPr lang="en-US"/>
              <a:t> Venue – Presenter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FD623D0-97AF-1A47-9A81-401DF79359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1" y="1766052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C137574-1B0D-5B44-8148-F8E9C05586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59" y="2542512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165432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4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rgbClr val="EA543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11903621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19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5877AED-B432-954E-9526-F60C95863B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5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8693193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_NoSubhea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731B2AB-1FB2-1F45-8BB3-6AC770979F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3221"/>
            <a:ext cx="11090275" cy="54305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00EAC61-D75C-484F-B27A-AC6214CEF4B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5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46566322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Onl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8B4EE28-507A-D444-A662-037CB6F331C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2" y="549275"/>
            <a:ext cx="11090275" cy="5759450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5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1695704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Only_Graphic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10">
            <a:extLst>
              <a:ext uri="{FF2B5EF4-FFF2-40B4-BE49-F238E27FC236}">
                <a16:creationId xmlns:a16="http://schemas.microsoft.com/office/drawing/2014/main" id="{5C00C965-9744-7D4A-AD4A-9696C4632E9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50864" y="549276"/>
            <a:ext cx="11090275" cy="5759450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  <a:lvl2pPr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2pPr>
            <a:lvl3pPr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3pPr>
            <a:lvl4pPr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98172492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Blu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4268" y="5102225"/>
            <a:ext cx="1166870" cy="12065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F20837AC-E33C-6E40-B40C-3FEC5699D1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1" y="1766052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1AD24CAE-CD7A-6D4E-A505-1EC7C2FE22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59" y="2542512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89708903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Background_01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add pictur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522717" y="-1891391"/>
            <a:ext cx="6400800" cy="6481573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2717" y="1074420"/>
            <a:ext cx="4118421" cy="55197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625976" y="1900046"/>
            <a:ext cx="401516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r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674238447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Background_02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-930332" y="-1547611"/>
            <a:ext cx="7026332" cy="7114999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5" y="1508760"/>
            <a:ext cx="5545135" cy="545297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2323887"/>
            <a:ext cx="549732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349591719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Circl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7539786" y="-1569307"/>
            <a:ext cx="5754014" cy="5754012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`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1"/>
            <a:ext cx="11090275" cy="54433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87D71AB-BACC-2C4F-88EB-31C7CF4415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790321842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screen_Bullets_Pictur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8286202" y="3035639"/>
            <a:ext cx="5293406" cy="5293406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50863" y="3429000"/>
            <a:ext cx="5545137" cy="2879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289560"/>
            <a:ext cx="11090275" cy="53671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4" y="1058400"/>
            <a:ext cx="1109027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291899" y="2583849"/>
            <a:ext cx="1690301" cy="1690301"/>
          </a:xfrm>
          <a:prstGeom prst="ellipse">
            <a:avLst/>
          </a:prstGeom>
          <a:solidFill>
            <a:schemeClr val="accent5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ummy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F4B3FD9-A387-6947-BF63-6BFB9B618E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0860" y="1537199"/>
            <a:ext cx="554514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5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50086370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screen_Picture_Tex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-884692" y="3035639"/>
            <a:ext cx="5293406" cy="5293406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096000" y="1537200"/>
            <a:ext cx="5545139" cy="4771525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5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 marL="628650" indent="-171450">
              <a:lnSpc>
                <a:spcPct val="90000"/>
              </a:lnSpc>
              <a:buClr>
                <a:schemeClr val="accent5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5pPr>
            <a:lvl6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291863" y="3325639"/>
            <a:ext cx="2092325" cy="2092325"/>
          </a:xfrm>
          <a:prstGeom prst="ellipse">
            <a:avLst/>
          </a:prstGeom>
          <a:solidFill>
            <a:schemeClr val="accent5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ummy Text</a:t>
            </a:r>
          </a:p>
        </p:txBody>
      </p:sp>
    </p:spTree>
    <p:extLst>
      <p:ext uri="{BB962C8B-B14F-4D97-AF65-F5344CB8AC3E}">
        <p14:creationId xmlns:p14="http://schemas.microsoft.com/office/powerpoint/2010/main" val="7529599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4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rgbClr val="EA543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EA5436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EA5436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EA5436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581725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cContent_01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550864" y="1537200"/>
            <a:ext cx="11090275" cy="47715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3531400724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GraphicContent_02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550865" y="2162398"/>
            <a:ext cx="5545136" cy="414632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A4076932-AF3E-6843-9BD8-0856ED8A921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096002" y="2162398"/>
            <a:ext cx="5545136" cy="414632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B0C66DD-B383-5A4D-826C-8206B8E6FC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6809" y="1537198"/>
            <a:ext cx="5433247" cy="395701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DF9788C-6FDD-184F-BEC5-18D16E078D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3996626381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plit2_Text_Graphic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1"/>
            <a:ext cx="11090275" cy="55195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4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50860" y="1537200"/>
            <a:ext cx="5545139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6207892" y="2162398"/>
            <a:ext cx="5433247" cy="4146327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65B969F-7F54-9B47-9F9C-E8699BDD002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3280573736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plit3_GraphicContent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21" hasCustomPrompt="1"/>
          </p:nvPr>
        </p:nvSpPr>
        <p:spPr>
          <a:xfrm>
            <a:off x="550863" y="2151573"/>
            <a:ext cx="5444823" cy="4157152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6207892" y="2151574"/>
            <a:ext cx="5433247" cy="161523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59080"/>
            <a:ext cx="11090275" cy="56719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BB9899A-7332-2543-AA31-75A80A2253F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2439" y="1531786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A82464C-5DA5-AE46-A8BB-63FEEF5A8F3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C17CE1B-488E-704E-A955-CE21B3BFA07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07891" y="40322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21" name="Content Placeholder 10">
            <a:extLst>
              <a:ext uri="{FF2B5EF4-FFF2-40B4-BE49-F238E27FC236}">
                <a16:creationId xmlns:a16="http://schemas.microsoft.com/office/drawing/2014/main" id="{F02E5D4A-53A5-784B-B43F-7EE7B3E5D1E3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6207891" y="4693487"/>
            <a:ext cx="5433247" cy="161523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932889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4_GraphicContent_02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550862" y="1537200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3" hasCustomPrompt="1"/>
          </p:nvPr>
        </p:nvSpPr>
        <p:spPr>
          <a:xfrm>
            <a:off x="550863" y="4160517"/>
            <a:ext cx="5446800" cy="188927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0864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0866" y="10584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194339" y="10584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3658501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194339" y="36585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0" name="Content Placeholder 10"/>
          <p:cNvSpPr>
            <a:spLocks noGrp="1"/>
          </p:cNvSpPr>
          <p:nvPr>
            <p:ph sz="quarter" idx="21" hasCustomPrompt="1"/>
          </p:nvPr>
        </p:nvSpPr>
        <p:spPr>
          <a:xfrm>
            <a:off x="6194339" y="1537416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91B0C169-76CA-0A46-8341-12E8CFC4170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4339" y="4147820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4140527913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2_Bullets_Bullets_01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0"/>
            <a:ext cx="11090275" cy="54433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6" y="1058400"/>
            <a:ext cx="541416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DD1F4E9-8922-9246-893A-4AAD1DAB57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26974" y="1058400"/>
            <a:ext cx="541416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7F948E1-88E7-144B-82DC-47F77472DD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0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5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A9F090C-39E6-5A49-8E48-7ED95D33FCC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26974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5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4955094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2_Text_Text_02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39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50860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5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226740" y="1537200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 cap="none" baseline="0">
                <a:solidFill>
                  <a:schemeClr val="accent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Next Subhead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226740" y="2234109"/>
            <a:ext cx="5414400" cy="4074617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5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 marL="628650" indent="-171450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2080541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4_Tex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451518"/>
            <a:ext cx="5414400" cy="467408"/>
          </a:xfrm>
          <a:prstGeom prst="rect">
            <a:avLst/>
          </a:prstGeom>
        </p:spPr>
        <p:txBody>
          <a:bodyPr lIns="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50863" y="2106592"/>
            <a:ext cx="5414400" cy="1697468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buClr>
                <a:schemeClr val="accent5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226740" y="1455593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226740" y="2106592"/>
            <a:ext cx="5414400" cy="1697468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indent="-171450">
              <a:buClr>
                <a:schemeClr val="accent5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3989890"/>
            <a:ext cx="5414400" cy="467408"/>
          </a:xfrm>
          <a:prstGeom prst="rect">
            <a:avLst/>
          </a:prstGeom>
        </p:spPr>
        <p:txBody>
          <a:bodyPr lIns="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50862" y="4604187"/>
            <a:ext cx="5414400" cy="1697468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buClr>
                <a:schemeClr val="accent5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26740" y="3989890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226740" y="4604187"/>
            <a:ext cx="5414400" cy="1697468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indent="-171450">
              <a:buClr>
                <a:schemeClr val="accent5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5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6096000" y="1690688"/>
            <a:ext cx="0" cy="4375872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550863" y="3896975"/>
            <a:ext cx="1109027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7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550863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2B3B01F4-C432-5B44-94B6-85381CDF171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690399256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_01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50862" y="1850637"/>
            <a:ext cx="11090276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4730363"/>
            <a:ext cx="11090276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cap="none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1895941130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_02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4914066" y="549275"/>
            <a:ext cx="2363868" cy="2363868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50863" y="4220815"/>
            <a:ext cx="11090275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i="1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“Lorem Ipsum”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5674527"/>
            <a:ext cx="11090275" cy="2492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1800" b="1" i="0" cap="none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John Doe</a:t>
            </a:r>
          </a:p>
        </p:txBody>
      </p:sp>
    </p:spTree>
    <p:extLst>
      <p:ext uri="{BB962C8B-B14F-4D97-AF65-F5344CB8AC3E}">
        <p14:creationId xmlns:p14="http://schemas.microsoft.com/office/powerpoint/2010/main" val="16515398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ou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/>
          <p:cNvSpPr txBox="1">
            <a:spLocks/>
          </p:cNvSpPr>
          <p:nvPr/>
        </p:nvSpPr>
        <p:spPr>
          <a:xfrm>
            <a:off x="1056218" y="979429"/>
            <a:ext cx="2400651" cy="697561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wrap="none" lIns="121917" tIns="60959" rIns="121917" bIns="60959" anchor="ctr">
            <a:sp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2800" b="1" i="0" kern="1200" cap="all" baseline="0">
                <a:ln>
                  <a:noFill/>
                </a:ln>
                <a:solidFill>
                  <a:srgbClr val="000000"/>
                </a:solidFill>
                <a:latin typeface="Omnes Bold Roman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sz="3733">
                <a:latin typeface="Arial Black"/>
                <a:cs typeface="Arial Black"/>
              </a:rPr>
              <a:t>inhou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1910272"/>
            <a:ext cx="10176000" cy="4467728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110000"/>
              </a:lnSpc>
              <a:buClr>
                <a:schemeClr val="accent1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110000"/>
              </a:lnSpc>
              <a:buClr>
                <a:schemeClr val="accent1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110000"/>
              </a:lnSpc>
              <a:buClr>
                <a:schemeClr val="accent1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table of content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449276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4_SplitScreen">
    <p:bg>
      <p:bgPr>
        <a:solidFill>
          <a:srgbClr val="EA54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70" y="244301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66" y="2615238"/>
            <a:ext cx="455569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EA5436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05" y="3913294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8862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s_Circles_01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1145596" y="2655193"/>
            <a:ext cx="5435687" cy="5435687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18"/>
          <p:cNvSpPr>
            <a:spLocks noGrp="1"/>
          </p:cNvSpPr>
          <p:nvPr>
            <p:ph type="pic" sz="quarter" idx="11"/>
          </p:nvPr>
        </p:nvSpPr>
        <p:spPr>
          <a:xfrm>
            <a:off x="7707220" y="3678137"/>
            <a:ext cx="3933918" cy="3933918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18"/>
          <p:cNvSpPr>
            <a:spLocks noGrp="1"/>
          </p:cNvSpPr>
          <p:nvPr>
            <p:ph type="pic" sz="quarter" idx="12"/>
          </p:nvPr>
        </p:nvSpPr>
        <p:spPr>
          <a:xfrm>
            <a:off x="5488455" y="-745946"/>
            <a:ext cx="4067370" cy="406737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281939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9E6DAA9-0566-3143-95E3-B552E185BB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561859346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_Mint_Gree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4268" y="5102225"/>
            <a:ext cx="1166870" cy="1206500"/>
          </a:xfrm>
          <a:prstGeom prst="rect">
            <a:avLst/>
          </a:prstGeom>
        </p:spPr>
      </p:pic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1" y="6027234"/>
            <a:ext cx="11090275" cy="318067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12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 month 20XX </a:t>
            </a:r>
            <a:r>
              <a:rPr lang="mr-IN"/>
              <a:t>–</a:t>
            </a:r>
            <a:r>
              <a:rPr lang="en-US"/>
              <a:t> Venue – Presenter 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2A51F2B-EF9A-3349-8868-E29C657DCC8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1" y="1766052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90B6539-7528-BA49-A93C-178C666750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59" y="2542512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463552884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19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5877AED-B432-954E-9526-F60C95863B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4956740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_NoSubhead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731B2AB-1FB2-1F45-8BB3-6AC770979F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3221"/>
            <a:ext cx="11090275" cy="54305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00EAC61-D75C-484F-B27A-AC6214CEF4B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2412010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Only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8B4EE28-507A-D444-A662-037CB6F331C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2" y="549275"/>
            <a:ext cx="11090275" cy="5759450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640887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Only_GraphicContent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10">
            <a:extLst>
              <a:ext uri="{FF2B5EF4-FFF2-40B4-BE49-F238E27FC236}">
                <a16:creationId xmlns:a16="http://schemas.microsoft.com/office/drawing/2014/main" id="{5C00C965-9744-7D4A-AD4A-9696C4632E9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50864" y="549276"/>
            <a:ext cx="11090275" cy="5759450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  <a:lvl2pPr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2pPr>
            <a:lvl3pPr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3pPr>
            <a:lvl4pPr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49822611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Mint_Gree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4268" y="5102225"/>
            <a:ext cx="1166870" cy="12065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D7819FF-2C92-9146-BAFF-8B81D68D7F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1" y="1766052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7ED5D22-5977-0745-955D-3CA536A9F6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59" y="2542512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405510638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Background_01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add pictur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522717" y="-1891391"/>
            <a:ext cx="6400800" cy="6481573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2717" y="1074420"/>
            <a:ext cx="4118421" cy="55197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625976" y="1900046"/>
            <a:ext cx="401516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r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754303999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Background_02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-930332" y="-1547611"/>
            <a:ext cx="7026332" cy="7114999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5" y="1508760"/>
            <a:ext cx="5545135" cy="545297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2323887"/>
            <a:ext cx="549732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165377699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chapter_Photo_Circle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7539786" y="-1569307"/>
            <a:ext cx="5754014" cy="5754012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`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1"/>
            <a:ext cx="11090275" cy="54433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B87D71AB-BACC-2C4F-88EB-31C7CF4415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41800895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4_SplitScreen_Content">
    <p:bg>
      <p:bgPr>
        <a:solidFill>
          <a:srgbClr val="EA54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41" y="2549006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00" y="1839921"/>
            <a:ext cx="3524249" cy="709083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57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914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70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82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08" y="3688109"/>
            <a:ext cx="4449233" cy="24278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570" indent="0" algn="ctr">
              <a:buFontTx/>
              <a:buNone/>
              <a:defRPr sz="2400" baseline="0">
                <a:latin typeface="Arial"/>
              </a:defRPr>
            </a:lvl2pPr>
            <a:lvl3pPr marL="1219140" indent="0" algn="ctr">
              <a:buFontTx/>
              <a:buNone/>
              <a:defRPr sz="2400" baseline="0">
                <a:latin typeface="Arial"/>
              </a:defRPr>
            </a:lvl3pPr>
            <a:lvl4pPr marL="1828709" indent="0" algn="ctr">
              <a:buFontTx/>
              <a:buNone/>
              <a:defRPr sz="2400" baseline="0">
                <a:latin typeface="Arial"/>
              </a:defRPr>
            </a:lvl4pPr>
            <a:lvl5pPr marL="24382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81227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screen_Bullets_Picture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8286202" y="3035639"/>
            <a:ext cx="5293406" cy="5293406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50863" y="3429000"/>
            <a:ext cx="5545137" cy="2879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289560"/>
            <a:ext cx="11090275" cy="53671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4" y="1058400"/>
            <a:ext cx="1109027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291899" y="2583849"/>
            <a:ext cx="1690301" cy="1690301"/>
          </a:xfrm>
          <a:prstGeom prst="ellipse">
            <a:avLst/>
          </a:prstGeom>
          <a:solidFill>
            <a:schemeClr val="accent6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ummy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F4B3FD9-A387-6947-BF63-6BFB9B618E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0860" y="1537199"/>
            <a:ext cx="554514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8213928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screen_Picture_Text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-884692" y="3035639"/>
            <a:ext cx="5293406" cy="5293406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096000" y="1537200"/>
            <a:ext cx="5545139" cy="4771525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 marL="628650" indent="-171450">
              <a:lnSpc>
                <a:spcPct val="90000"/>
              </a:lnSpc>
              <a:buClr>
                <a:schemeClr val="accent6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5pPr>
            <a:lvl6pPr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291863" y="3325639"/>
            <a:ext cx="2092325" cy="2092325"/>
          </a:xfrm>
          <a:prstGeom prst="ellipse">
            <a:avLst/>
          </a:prstGeom>
          <a:solidFill>
            <a:schemeClr val="accent6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ummy Text</a:t>
            </a:r>
          </a:p>
        </p:txBody>
      </p:sp>
    </p:spTree>
    <p:extLst>
      <p:ext uri="{BB962C8B-B14F-4D97-AF65-F5344CB8AC3E}">
        <p14:creationId xmlns:p14="http://schemas.microsoft.com/office/powerpoint/2010/main" val="891401337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icContent_01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550864" y="1537200"/>
            <a:ext cx="11090275" cy="47715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4115734497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GraphicContent_02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550865" y="2162398"/>
            <a:ext cx="5545136" cy="414632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A4076932-AF3E-6843-9BD8-0856ED8A921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096002" y="2162398"/>
            <a:ext cx="5545136" cy="4146327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B0C66DD-B383-5A4D-826C-8206B8E6FC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6809" y="1537198"/>
            <a:ext cx="5433247" cy="395701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DF9788C-6FDD-184F-BEC5-18D16E078D8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284107495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plit2_Text_Graphic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1"/>
            <a:ext cx="11090275" cy="55195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4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50860" y="1537200"/>
            <a:ext cx="5545139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6207892" y="2162398"/>
            <a:ext cx="5433247" cy="4146327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65B969F-7F54-9B47-9F9C-E8699BDD002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1870701606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plit3_GraphicContent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21" hasCustomPrompt="1"/>
          </p:nvPr>
        </p:nvSpPr>
        <p:spPr>
          <a:xfrm>
            <a:off x="550863" y="2151573"/>
            <a:ext cx="5444823" cy="4157152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6207892" y="2151574"/>
            <a:ext cx="5433247" cy="161523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59080"/>
            <a:ext cx="11090275" cy="56719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BB9899A-7332-2543-AA31-75A80A2253F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2439" y="1531786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A82464C-5DA5-AE46-A8BB-63FEEF5A8F3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51946" y="15371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C17CE1B-488E-704E-A955-CE21B3BFA07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07891" y="4032299"/>
            <a:ext cx="5433247" cy="3957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ctr">
              <a:buFontTx/>
              <a:buNone/>
              <a:defRPr sz="12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21" name="Content Placeholder 10">
            <a:extLst>
              <a:ext uri="{FF2B5EF4-FFF2-40B4-BE49-F238E27FC236}">
                <a16:creationId xmlns:a16="http://schemas.microsoft.com/office/drawing/2014/main" id="{F02E5D4A-53A5-784B-B43F-7EE7B3E5D1E3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6207891" y="4693487"/>
            <a:ext cx="5433247" cy="161523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2350602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4_GraphicContent_02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550862" y="1537200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3" hasCustomPrompt="1"/>
          </p:nvPr>
        </p:nvSpPr>
        <p:spPr>
          <a:xfrm>
            <a:off x="550863" y="4160517"/>
            <a:ext cx="5446800" cy="1889278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50864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0866" y="10584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194339" y="10584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3658501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194339" y="3658500"/>
            <a:ext cx="5446800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20" name="Content Placeholder 10"/>
          <p:cNvSpPr>
            <a:spLocks noGrp="1"/>
          </p:cNvSpPr>
          <p:nvPr>
            <p:ph sz="quarter" idx="21" hasCustomPrompt="1"/>
          </p:nvPr>
        </p:nvSpPr>
        <p:spPr>
          <a:xfrm>
            <a:off x="6194339" y="1537416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91B0C169-76CA-0A46-8341-12E8CFC41706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194339" y="4147820"/>
            <a:ext cx="5446800" cy="1891800"/>
          </a:xfrm>
          <a:prstGeom prst="rect">
            <a:avLst/>
          </a:prstGeom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on an icon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3382946249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2_Bullets_Bullets_01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40"/>
            <a:ext cx="11090275" cy="54433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6" y="1058400"/>
            <a:ext cx="541416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DD1F4E9-8922-9246-893A-4AAD1DAB57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26974" y="1058400"/>
            <a:ext cx="541416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7F948E1-88E7-144B-82DC-47F77472DD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0860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A9F090C-39E6-5A49-8E48-7ED95D33FCC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26974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2180177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2_Text_Text_02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1939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550860" y="1537199"/>
            <a:ext cx="541440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226740" y="1537200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 cap="none" baseline="0">
                <a:solidFill>
                  <a:schemeClr val="accent6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Next Subhead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226740" y="2234109"/>
            <a:ext cx="5414400" cy="4074617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6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 marL="628650" indent="-171450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0488180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4_Text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451518"/>
            <a:ext cx="5414400" cy="467408"/>
          </a:xfrm>
          <a:prstGeom prst="rect">
            <a:avLst/>
          </a:prstGeom>
        </p:spPr>
        <p:txBody>
          <a:bodyPr lIns="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50863" y="2106592"/>
            <a:ext cx="5414400" cy="1697468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buClr>
                <a:schemeClr val="accent6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226740" y="1455593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226740" y="2106592"/>
            <a:ext cx="5414400" cy="1697468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indent="-171450">
              <a:buClr>
                <a:schemeClr val="accent6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3989890"/>
            <a:ext cx="5414400" cy="467408"/>
          </a:xfrm>
          <a:prstGeom prst="rect">
            <a:avLst/>
          </a:prstGeom>
        </p:spPr>
        <p:txBody>
          <a:bodyPr lIns="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50862" y="4604187"/>
            <a:ext cx="5414400" cy="1697468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buClr>
                <a:schemeClr val="accent6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26740" y="3989890"/>
            <a:ext cx="5414400" cy="467408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>
              <a:buFontTx/>
              <a:buNone/>
              <a:defRPr sz="1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Next Subhead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226740" y="4604187"/>
            <a:ext cx="5414400" cy="1697468"/>
          </a:xfrm>
          <a:prstGeom prst="rect">
            <a:avLst/>
          </a:prstGeom>
        </p:spPr>
        <p:txBody>
          <a:bodyPr lIns="108000" tIns="108000" rIns="108000" bIns="108000"/>
          <a:lstStyle>
            <a:lvl1pPr marL="171450" indent="-171450">
              <a:buClr>
                <a:schemeClr val="accent6"/>
              </a:buClr>
              <a:buFont typeface="Arial" panose="020B0604020202020204" pitchFamily="34" charset="0"/>
              <a:buChar char="•"/>
              <a:defRPr sz="1200" b="0">
                <a:solidFill>
                  <a:schemeClr val="tx2"/>
                </a:solidFill>
              </a:defRPr>
            </a:lvl1pPr>
            <a:lvl2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2pPr>
            <a:lvl3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3pPr>
            <a:lvl4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4pPr>
            <a:lvl5pPr>
              <a:buClr>
                <a:schemeClr val="accent6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6096000" y="1690688"/>
            <a:ext cx="0" cy="4375872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550863" y="3896975"/>
            <a:ext cx="1109027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7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550863" y="281940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2B3B01F4-C432-5B44-94B6-85381CDF171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85614133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4_SplitScreen_Bullets">
    <p:bg>
      <p:bgPr>
        <a:solidFill>
          <a:srgbClr val="EA54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26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66"/>
            <a:ext cx="1018801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25" y="2319619"/>
            <a:ext cx="4301825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58422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_01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50862" y="1850637"/>
            <a:ext cx="11090276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4730363"/>
            <a:ext cx="11090276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cap="none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28580894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_02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4914066" y="549275"/>
            <a:ext cx="2363868" cy="2363868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50863" y="4220815"/>
            <a:ext cx="11090275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2000" b="0" i="1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“Lorem Ipsum”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550862" y="5674527"/>
            <a:ext cx="11090275" cy="2492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ctr">
              <a:buFontTx/>
              <a:buNone/>
              <a:defRPr sz="1800" b="1" i="0" cap="none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John Doe</a:t>
            </a:r>
          </a:p>
        </p:txBody>
      </p:sp>
    </p:spTree>
    <p:extLst>
      <p:ext uri="{BB962C8B-B14F-4D97-AF65-F5344CB8AC3E}">
        <p14:creationId xmlns:p14="http://schemas.microsoft.com/office/powerpoint/2010/main" val="2299399389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s_Circles_01_Min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1145596" y="2655193"/>
            <a:ext cx="5435687" cy="5435687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18"/>
          <p:cNvSpPr>
            <a:spLocks noGrp="1"/>
          </p:cNvSpPr>
          <p:nvPr>
            <p:ph type="pic" sz="quarter" idx="11"/>
          </p:nvPr>
        </p:nvSpPr>
        <p:spPr>
          <a:xfrm>
            <a:off x="7707220" y="3678137"/>
            <a:ext cx="3933918" cy="3933918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18"/>
          <p:cNvSpPr>
            <a:spLocks noGrp="1"/>
          </p:cNvSpPr>
          <p:nvPr>
            <p:ph type="pic" sz="quarter" idx="12"/>
          </p:nvPr>
        </p:nvSpPr>
        <p:spPr>
          <a:xfrm>
            <a:off x="5488455" y="-745946"/>
            <a:ext cx="4067370" cy="406737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281939"/>
            <a:ext cx="11090275" cy="54433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9E6DAA9-0566-3143-95E3-B552E185BB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5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860203529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22D30-C245-496B-9A61-5DFC24F30204}" type="datetimeFigureOut">
              <a:rPr lang="en-US" smtClean="0"/>
              <a:t>2/1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D0FB-27D0-48AD-836E-82F0382361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347079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1" cy="15696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122" b="0" i="0">
                <a:solidFill>
                  <a:srgbClr val="A09FA0"/>
                </a:solidFill>
                <a:latin typeface="BloomSpeakTitle-Medium"/>
                <a:cs typeface="BloomSpeakTitle-Medium"/>
              </a:defRPr>
            </a:lvl1pPr>
          </a:lstStyle>
          <a:p>
            <a:pPr marL="7701">
              <a:lnSpc>
                <a:spcPts val="1310"/>
              </a:lnSpc>
            </a:pPr>
            <a:r>
              <a:rPr lang="nl-BE" spc="39">
                <a:solidFill>
                  <a:srgbClr val="FFFFFF"/>
                </a:solidFill>
              </a:rPr>
              <a:t>H</a:t>
            </a:r>
            <a:r>
              <a:rPr lang="nl-BE" spc="36">
                <a:solidFill>
                  <a:srgbClr val="FFFFFF"/>
                </a:solidFill>
              </a:rPr>
              <a:t>OM</a:t>
            </a:r>
            <a:r>
              <a:rPr lang="nl-BE" spc="9">
                <a:solidFill>
                  <a:srgbClr val="FFFFFF"/>
                </a:solidFill>
              </a:rPr>
              <a:t>E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1122" b="0" i="0">
                <a:solidFill>
                  <a:srgbClr val="B3B3B4"/>
                </a:solidFill>
                <a:latin typeface="BloomSpeakTitle-Medium"/>
                <a:cs typeface="BloomSpeakTitle-Medium"/>
              </a:defRPr>
            </a:lvl1pPr>
          </a:lstStyle>
          <a:p>
            <a:pPr marL="7701">
              <a:lnSpc>
                <a:spcPts val="1310"/>
              </a:lnSpc>
            </a:pPr>
            <a:r>
              <a:rPr lang="nl-BE" spc="115"/>
              <a:t>T</a:t>
            </a:r>
            <a:r>
              <a:rPr lang="nl-BE" spc="88"/>
              <a:t>E</a:t>
            </a:r>
            <a:r>
              <a:rPr lang="nl-BE" spc="106"/>
              <a:t>R</a:t>
            </a:r>
            <a:r>
              <a:rPr lang="nl-BE" spc="112"/>
              <a:t>U</a:t>
            </a:r>
            <a:r>
              <a:rPr lang="nl-BE" spc="12"/>
              <a:t>G</a:t>
            </a: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54548495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215637" y="506441"/>
            <a:ext cx="7760724" cy="951799"/>
          </a:xfrm>
        </p:spPr>
        <p:txBody>
          <a:bodyPr lIns="0" tIns="0" rIns="0" bIns="0"/>
          <a:lstStyle>
            <a:lvl1pPr>
              <a:defRPr sz="6185" b="1" i="0">
                <a:solidFill>
                  <a:schemeClr val="bg1"/>
                </a:solidFill>
                <a:latin typeface="BloomSpeakTitle-UltraHeavy"/>
                <a:cs typeface="BloomSpeakTitle-UltraHeavy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122" b="0" i="0">
                <a:solidFill>
                  <a:srgbClr val="A09FA0"/>
                </a:solidFill>
                <a:latin typeface="BloomSpeakTitle-Medium"/>
                <a:cs typeface="BloomSpeakTitle-Medium"/>
              </a:defRPr>
            </a:lvl1pPr>
          </a:lstStyle>
          <a:p>
            <a:pPr marL="7701">
              <a:lnSpc>
                <a:spcPts val="1310"/>
              </a:lnSpc>
            </a:pPr>
            <a:r>
              <a:rPr lang="nl-BE" spc="39">
                <a:solidFill>
                  <a:srgbClr val="FFFFFF"/>
                </a:solidFill>
              </a:rPr>
              <a:t>H</a:t>
            </a:r>
            <a:r>
              <a:rPr lang="nl-BE" spc="36">
                <a:solidFill>
                  <a:srgbClr val="FFFFFF"/>
                </a:solidFill>
              </a:rPr>
              <a:t>OM</a:t>
            </a:r>
            <a:r>
              <a:rPr lang="nl-BE" spc="9">
                <a:solidFill>
                  <a:srgbClr val="FFFFFF"/>
                </a:solidFill>
              </a:rPr>
              <a:t>E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1122" b="0" i="0">
                <a:solidFill>
                  <a:srgbClr val="B3B3B4"/>
                </a:solidFill>
                <a:latin typeface="BloomSpeakTitle-Medium"/>
                <a:cs typeface="BloomSpeakTitle-Medium"/>
              </a:defRPr>
            </a:lvl1pPr>
          </a:lstStyle>
          <a:p>
            <a:pPr marL="7701">
              <a:lnSpc>
                <a:spcPts val="1310"/>
              </a:lnSpc>
            </a:pPr>
            <a:r>
              <a:rPr lang="nl-BE" spc="115"/>
              <a:t>T</a:t>
            </a:r>
            <a:r>
              <a:rPr lang="nl-BE" spc="88"/>
              <a:t>E</a:t>
            </a:r>
            <a:r>
              <a:rPr lang="nl-BE" spc="106"/>
              <a:t>R</a:t>
            </a:r>
            <a:r>
              <a:rPr lang="nl-BE" spc="112"/>
              <a:t>U</a:t>
            </a:r>
            <a:r>
              <a:rPr lang="nl-BE" spc="12"/>
              <a:t>G</a:t>
            </a: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29054184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215637" y="506441"/>
            <a:ext cx="7760724" cy="951799"/>
          </a:xfrm>
        </p:spPr>
        <p:txBody>
          <a:bodyPr lIns="0" tIns="0" rIns="0" bIns="0"/>
          <a:lstStyle>
            <a:lvl1pPr>
              <a:defRPr sz="6185" b="1" i="0">
                <a:solidFill>
                  <a:schemeClr val="bg1"/>
                </a:solidFill>
                <a:latin typeface="BloomSpeakTitle-UltraHeavy"/>
                <a:cs typeface="BloomSpeakTitle-UltraHeavy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122" b="0" i="0">
                <a:solidFill>
                  <a:srgbClr val="A09FA0"/>
                </a:solidFill>
                <a:latin typeface="BloomSpeakTitle-Medium"/>
                <a:cs typeface="BloomSpeakTitle-Medium"/>
              </a:defRPr>
            </a:lvl1pPr>
          </a:lstStyle>
          <a:p>
            <a:pPr marL="7701">
              <a:lnSpc>
                <a:spcPts val="1310"/>
              </a:lnSpc>
            </a:pPr>
            <a:r>
              <a:rPr lang="nl-BE" spc="39">
                <a:solidFill>
                  <a:srgbClr val="FFFFFF"/>
                </a:solidFill>
              </a:rPr>
              <a:t>H</a:t>
            </a:r>
            <a:r>
              <a:rPr lang="nl-BE" spc="36">
                <a:solidFill>
                  <a:srgbClr val="FFFFFF"/>
                </a:solidFill>
              </a:rPr>
              <a:t>OM</a:t>
            </a:r>
            <a:r>
              <a:rPr lang="nl-BE" spc="9">
                <a:solidFill>
                  <a:srgbClr val="FFFFFF"/>
                </a:solidFill>
              </a:rPr>
              <a:t>E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1122" b="0" i="0">
                <a:solidFill>
                  <a:srgbClr val="B3B3B4"/>
                </a:solidFill>
                <a:latin typeface="BloomSpeakTitle-Medium"/>
                <a:cs typeface="BloomSpeakTitle-Medium"/>
              </a:defRPr>
            </a:lvl1pPr>
          </a:lstStyle>
          <a:p>
            <a:pPr marL="7701">
              <a:lnSpc>
                <a:spcPts val="1310"/>
              </a:lnSpc>
            </a:pPr>
            <a:r>
              <a:rPr lang="nl-BE" spc="115"/>
              <a:t>T</a:t>
            </a:r>
            <a:r>
              <a:rPr lang="nl-BE" spc="88"/>
              <a:t>E</a:t>
            </a:r>
            <a:r>
              <a:rPr lang="nl-BE" spc="106"/>
              <a:t>R</a:t>
            </a:r>
            <a:r>
              <a:rPr lang="nl-BE" spc="112"/>
              <a:t>U</a:t>
            </a:r>
            <a:r>
              <a:rPr lang="nl-BE" spc="12"/>
              <a:t>G</a:t>
            </a: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21857255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76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solidFill>
            <a:srgbClr val="F2955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215637" y="506441"/>
            <a:ext cx="7760724" cy="951799"/>
          </a:xfrm>
        </p:spPr>
        <p:txBody>
          <a:bodyPr lIns="0" tIns="0" rIns="0" bIns="0"/>
          <a:lstStyle>
            <a:lvl1pPr>
              <a:defRPr sz="6185" b="1" i="0">
                <a:solidFill>
                  <a:schemeClr val="bg1"/>
                </a:solidFill>
                <a:latin typeface="BloomSpeakTitle-UltraHeavy"/>
                <a:cs typeface="BloomSpeakTitle-UltraHeavy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122" b="0" i="0">
                <a:solidFill>
                  <a:srgbClr val="A09FA0"/>
                </a:solidFill>
                <a:latin typeface="BloomSpeakTitle-Medium"/>
                <a:cs typeface="BloomSpeakTitle-Medium"/>
              </a:defRPr>
            </a:lvl1pPr>
          </a:lstStyle>
          <a:p>
            <a:pPr marL="7701">
              <a:lnSpc>
                <a:spcPts val="1310"/>
              </a:lnSpc>
            </a:pPr>
            <a:r>
              <a:rPr lang="nl-BE" spc="39">
                <a:solidFill>
                  <a:srgbClr val="FFFFFF"/>
                </a:solidFill>
              </a:rPr>
              <a:t>H</a:t>
            </a:r>
            <a:r>
              <a:rPr lang="nl-BE" spc="36">
                <a:solidFill>
                  <a:srgbClr val="FFFFFF"/>
                </a:solidFill>
              </a:rPr>
              <a:t>OM</a:t>
            </a:r>
            <a:r>
              <a:rPr lang="nl-BE" spc="9">
                <a:solidFill>
                  <a:srgbClr val="FFFFFF"/>
                </a:solidFill>
              </a:rPr>
              <a:t>E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1122" b="0" i="0">
                <a:solidFill>
                  <a:srgbClr val="B3B3B4"/>
                </a:solidFill>
                <a:latin typeface="BloomSpeakTitle-Medium"/>
                <a:cs typeface="BloomSpeakTitle-Medium"/>
              </a:defRPr>
            </a:lvl1pPr>
          </a:lstStyle>
          <a:p>
            <a:pPr marL="7701">
              <a:lnSpc>
                <a:spcPts val="1310"/>
              </a:lnSpc>
            </a:pPr>
            <a:r>
              <a:rPr lang="nl-BE" spc="115"/>
              <a:t>T</a:t>
            </a:r>
            <a:r>
              <a:rPr lang="nl-BE" spc="88"/>
              <a:t>E</a:t>
            </a:r>
            <a:r>
              <a:rPr lang="nl-BE" spc="106"/>
              <a:t>R</a:t>
            </a:r>
            <a:r>
              <a:rPr lang="nl-BE" spc="112"/>
              <a:t>U</a:t>
            </a:r>
            <a:r>
              <a:rPr lang="nl-BE" spc="12"/>
              <a:t>G</a:t>
            </a: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17593569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6349"/>
            <a:ext cx="6095935" cy="685116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8345077" y="3789277"/>
            <a:ext cx="2168499" cy="15803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/>
        </p:nvSpPr>
        <p:spPr>
          <a:xfrm>
            <a:off x="7774414" y="3283849"/>
            <a:ext cx="456719" cy="456687"/>
          </a:xfrm>
          <a:custGeom>
            <a:avLst/>
            <a:gdLst/>
            <a:ahLst/>
            <a:cxnLst/>
            <a:rect l="l" t="t" r="r" b="b"/>
            <a:pathLst>
              <a:path w="753109" h="753110">
                <a:moveTo>
                  <a:pt x="528751" y="260642"/>
                </a:moveTo>
                <a:lnTo>
                  <a:pt x="481799" y="252095"/>
                </a:lnTo>
                <a:lnTo>
                  <a:pt x="467804" y="251345"/>
                </a:lnTo>
                <a:lnTo>
                  <a:pt x="454660" y="251498"/>
                </a:lnTo>
                <a:lnTo>
                  <a:pt x="441540" y="252425"/>
                </a:lnTo>
                <a:lnTo>
                  <a:pt x="428434" y="254114"/>
                </a:lnTo>
                <a:lnTo>
                  <a:pt x="415353" y="256578"/>
                </a:lnTo>
                <a:lnTo>
                  <a:pt x="411010" y="257924"/>
                </a:lnTo>
                <a:lnTo>
                  <a:pt x="411010" y="307581"/>
                </a:lnTo>
                <a:lnTo>
                  <a:pt x="416052" y="305625"/>
                </a:lnTo>
                <a:lnTo>
                  <a:pt x="428345" y="304126"/>
                </a:lnTo>
                <a:lnTo>
                  <a:pt x="440817" y="303123"/>
                </a:lnTo>
                <a:lnTo>
                  <a:pt x="453821" y="302615"/>
                </a:lnTo>
                <a:lnTo>
                  <a:pt x="467652" y="302641"/>
                </a:lnTo>
                <a:lnTo>
                  <a:pt x="509714" y="305879"/>
                </a:lnTo>
                <a:lnTo>
                  <a:pt x="528751" y="309372"/>
                </a:lnTo>
                <a:lnTo>
                  <a:pt x="528751" y="302615"/>
                </a:lnTo>
                <a:lnTo>
                  <a:pt x="528751" y="260642"/>
                </a:lnTo>
                <a:close/>
              </a:path>
              <a:path w="753109" h="753110">
                <a:moveTo>
                  <a:pt x="752792" y="376389"/>
                </a:moveTo>
                <a:lnTo>
                  <a:pt x="751230" y="300583"/>
                </a:lnTo>
                <a:lnTo>
                  <a:pt x="747509" y="234099"/>
                </a:lnTo>
                <a:lnTo>
                  <a:pt x="743077" y="181279"/>
                </a:lnTo>
                <a:lnTo>
                  <a:pt x="737793" y="133832"/>
                </a:lnTo>
                <a:lnTo>
                  <a:pt x="729030" y="103974"/>
                </a:lnTo>
                <a:lnTo>
                  <a:pt x="724979" y="90157"/>
                </a:lnTo>
                <a:lnTo>
                  <a:pt x="699477" y="54076"/>
                </a:lnTo>
                <a:lnTo>
                  <a:pt x="663740" y="28244"/>
                </a:lnTo>
                <a:lnTo>
                  <a:pt x="648817" y="23812"/>
                </a:lnTo>
                <a:lnTo>
                  <a:pt x="648817" y="376389"/>
                </a:lnTo>
                <a:lnTo>
                  <a:pt x="647115" y="444042"/>
                </a:lnTo>
                <a:lnTo>
                  <a:pt x="643382" y="499922"/>
                </a:lnTo>
                <a:lnTo>
                  <a:pt x="639648" y="537921"/>
                </a:lnTo>
                <a:lnTo>
                  <a:pt x="628675" y="583552"/>
                </a:lnTo>
                <a:lnTo>
                  <a:pt x="584352" y="628370"/>
                </a:lnTo>
                <a:lnTo>
                  <a:pt x="509943" y="644131"/>
                </a:lnTo>
                <a:lnTo>
                  <a:pt x="438264" y="648614"/>
                </a:lnTo>
                <a:lnTo>
                  <a:pt x="376402" y="648792"/>
                </a:lnTo>
                <a:lnTo>
                  <a:pt x="304495" y="647065"/>
                </a:lnTo>
                <a:lnTo>
                  <a:pt x="248767" y="643267"/>
                </a:lnTo>
                <a:lnTo>
                  <a:pt x="199948" y="637743"/>
                </a:lnTo>
                <a:lnTo>
                  <a:pt x="142582" y="609663"/>
                </a:lnTo>
                <a:lnTo>
                  <a:pt x="114871" y="551942"/>
                </a:lnTo>
                <a:lnTo>
                  <a:pt x="109435" y="499922"/>
                </a:lnTo>
                <a:lnTo>
                  <a:pt x="105702" y="444042"/>
                </a:lnTo>
                <a:lnTo>
                  <a:pt x="104000" y="376389"/>
                </a:lnTo>
                <a:lnTo>
                  <a:pt x="105702" y="308737"/>
                </a:lnTo>
                <a:lnTo>
                  <a:pt x="109435" y="252857"/>
                </a:lnTo>
                <a:lnTo>
                  <a:pt x="113169" y="214858"/>
                </a:lnTo>
                <a:lnTo>
                  <a:pt x="124142" y="169227"/>
                </a:lnTo>
                <a:lnTo>
                  <a:pt x="168452" y="124434"/>
                </a:lnTo>
                <a:lnTo>
                  <a:pt x="242849" y="108648"/>
                </a:lnTo>
                <a:lnTo>
                  <a:pt x="314540" y="104152"/>
                </a:lnTo>
                <a:lnTo>
                  <a:pt x="382536" y="104127"/>
                </a:lnTo>
                <a:lnTo>
                  <a:pt x="448297" y="105714"/>
                </a:lnTo>
                <a:lnTo>
                  <a:pt x="504024" y="109512"/>
                </a:lnTo>
                <a:lnTo>
                  <a:pt x="552856" y="115062"/>
                </a:lnTo>
                <a:lnTo>
                  <a:pt x="610222" y="143116"/>
                </a:lnTo>
                <a:lnTo>
                  <a:pt x="637946" y="200837"/>
                </a:lnTo>
                <a:lnTo>
                  <a:pt x="643382" y="252857"/>
                </a:lnTo>
                <a:lnTo>
                  <a:pt x="647115" y="308737"/>
                </a:lnTo>
                <a:lnTo>
                  <a:pt x="648817" y="376389"/>
                </a:lnTo>
                <a:lnTo>
                  <a:pt x="648817" y="23812"/>
                </a:lnTo>
                <a:lnTo>
                  <a:pt x="560920" y="6451"/>
                </a:lnTo>
                <a:lnTo>
                  <a:pt x="515759" y="1917"/>
                </a:lnTo>
                <a:lnTo>
                  <a:pt x="461873" y="241"/>
                </a:lnTo>
                <a:lnTo>
                  <a:pt x="376402" y="0"/>
                </a:lnTo>
                <a:lnTo>
                  <a:pt x="277050" y="2387"/>
                </a:lnTo>
                <a:lnTo>
                  <a:pt x="200050" y="7645"/>
                </a:lnTo>
                <a:lnTo>
                  <a:pt x="150279" y="12903"/>
                </a:lnTo>
                <a:lnTo>
                  <a:pt x="89077" y="28244"/>
                </a:lnTo>
                <a:lnTo>
                  <a:pt x="53340" y="54076"/>
                </a:lnTo>
                <a:lnTo>
                  <a:pt x="27838" y="90157"/>
                </a:lnTo>
                <a:lnTo>
                  <a:pt x="15024" y="133832"/>
                </a:lnTo>
                <a:lnTo>
                  <a:pt x="9740" y="181279"/>
                </a:lnTo>
                <a:lnTo>
                  <a:pt x="5295" y="234099"/>
                </a:lnTo>
                <a:lnTo>
                  <a:pt x="1562" y="300583"/>
                </a:lnTo>
                <a:lnTo>
                  <a:pt x="0" y="376389"/>
                </a:lnTo>
                <a:lnTo>
                  <a:pt x="1562" y="452208"/>
                </a:lnTo>
                <a:lnTo>
                  <a:pt x="5295" y="518680"/>
                </a:lnTo>
                <a:lnTo>
                  <a:pt x="9740" y="571512"/>
                </a:lnTo>
                <a:lnTo>
                  <a:pt x="15024" y="618959"/>
                </a:lnTo>
                <a:lnTo>
                  <a:pt x="27838" y="662635"/>
                </a:lnTo>
                <a:lnTo>
                  <a:pt x="53340" y="698703"/>
                </a:lnTo>
                <a:lnTo>
                  <a:pt x="89077" y="724535"/>
                </a:lnTo>
                <a:lnTo>
                  <a:pt x="132600" y="737501"/>
                </a:lnTo>
                <a:lnTo>
                  <a:pt x="191871" y="746340"/>
                </a:lnTo>
                <a:lnTo>
                  <a:pt x="237032" y="750874"/>
                </a:lnTo>
                <a:lnTo>
                  <a:pt x="290918" y="752551"/>
                </a:lnTo>
                <a:lnTo>
                  <a:pt x="376402" y="752779"/>
                </a:lnTo>
                <a:lnTo>
                  <a:pt x="475742" y="750392"/>
                </a:lnTo>
                <a:lnTo>
                  <a:pt x="552742" y="745147"/>
                </a:lnTo>
                <a:lnTo>
                  <a:pt x="602526" y="739889"/>
                </a:lnTo>
                <a:lnTo>
                  <a:pt x="663740" y="724535"/>
                </a:lnTo>
                <a:lnTo>
                  <a:pt x="699477" y="698703"/>
                </a:lnTo>
                <a:lnTo>
                  <a:pt x="724979" y="662635"/>
                </a:lnTo>
                <a:lnTo>
                  <a:pt x="737793" y="618959"/>
                </a:lnTo>
                <a:lnTo>
                  <a:pt x="743077" y="571512"/>
                </a:lnTo>
                <a:lnTo>
                  <a:pt x="747509" y="518680"/>
                </a:lnTo>
                <a:lnTo>
                  <a:pt x="751230" y="452208"/>
                </a:lnTo>
                <a:lnTo>
                  <a:pt x="752792" y="376389"/>
                </a:lnTo>
                <a:close/>
              </a:path>
            </a:pathLst>
          </a:custGeom>
          <a:solidFill>
            <a:srgbClr val="FFC42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/>
        </p:nvSpPr>
        <p:spPr>
          <a:xfrm>
            <a:off x="7908335" y="3423922"/>
            <a:ext cx="71145" cy="5974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g object 20"/>
          <p:cNvSpPr/>
          <p:nvPr/>
        </p:nvSpPr>
        <p:spPr>
          <a:xfrm>
            <a:off x="7902796" y="3540595"/>
            <a:ext cx="199863" cy="61995"/>
          </a:xfrm>
          <a:custGeom>
            <a:avLst/>
            <a:gdLst/>
            <a:ahLst/>
            <a:cxnLst/>
            <a:rect l="l" t="t" r="r" b="b"/>
            <a:pathLst>
              <a:path w="329565" h="102235">
                <a:moveTo>
                  <a:pt x="0" y="0"/>
                </a:moveTo>
                <a:lnTo>
                  <a:pt x="0" y="36051"/>
                </a:lnTo>
                <a:lnTo>
                  <a:pt x="6711" y="42407"/>
                </a:lnTo>
                <a:lnTo>
                  <a:pt x="29336" y="58350"/>
                </a:lnTo>
                <a:lnTo>
                  <a:pt x="65124" y="78124"/>
                </a:lnTo>
                <a:lnTo>
                  <a:pt x="111179" y="94963"/>
                </a:lnTo>
                <a:lnTo>
                  <a:pt x="164602" y="102101"/>
                </a:lnTo>
                <a:lnTo>
                  <a:pt x="218015" y="94963"/>
                </a:lnTo>
                <a:lnTo>
                  <a:pt x="264061" y="78124"/>
                </a:lnTo>
                <a:lnTo>
                  <a:pt x="299852" y="58350"/>
                </a:lnTo>
                <a:lnTo>
                  <a:pt x="310557" y="50815"/>
                </a:lnTo>
                <a:lnTo>
                  <a:pt x="164602" y="50815"/>
                </a:lnTo>
                <a:lnTo>
                  <a:pt x="110393" y="45517"/>
                </a:lnTo>
                <a:lnTo>
                  <a:pt x="64826" y="32902"/>
                </a:lnTo>
                <a:lnTo>
                  <a:pt x="29902" y="17887"/>
                </a:lnTo>
                <a:lnTo>
                  <a:pt x="7622" y="5392"/>
                </a:lnTo>
                <a:lnTo>
                  <a:pt x="0" y="0"/>
                </a:lnTo>
                <a:close/>
              </a:path>
              <a:path w="329565" h="102235">
                <a:moveTo>
                  <a:pt x="329183" y="0"/>
                </a:moveTo>
                <a:lnTo>
                  <a:pt x="264382" y="32902"/>
                </a:lnTo>
                <a:lnTo>
                  <a:pt x="218809" y="45517"/>
                </a:lnTo>
                <a:lnTo>
                  <a:pt x="164602" y="50815"/>
                </a:lnTo>
                <a:lnTo>
                  <a:pt x="310557" y="50815"/>
                </a:lnTo>
                <a:lnTo>
                  <a:pt x="322503" y="42407"/>
                </a:lnTo>
                <a:lnTo>
                  <a:pt x="329183" y="36051"/>
                </a:lnTo>
                <a:lnTo>
                  <a:pt x="329183" y="0"/>
                </a:lnTo>
                <a:close/>
              </a:path>
            </a:pathLst>
          </a:custGeom>
          <a:solidFill>
            <a:srgbClr val="FFC42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g object 21"/>
          <p:cNvSpPr/>
          <p:nvPr/>
        </p:nvSpPr>
        <p:spPr>
          <a:xfrm>
            <a:off x="8345080" y="3325791"/>
            <a:ext cx="2168836" cy="387760"/>
          </a:xfrm>
          <a:custGeom>
            <a:avLst/>
            <a:gdLst/>
            <a:ahLst/>
            <a:cxnLst/>
            <a:rect l="l" t="t" r="r" b="b"/>
            <a:pathLst>
              <a:path w="3576319" h="639445">
                <a:moveTo>
                  <a:pt x="3224708" y="444070"/>
                </a:moveTo>
                <a:lnTo>
                  <a:pt x="3195345" y="450216"/>
                </a:lnTo>
                <a:lnTo>
                  <a:pt x="3172052" y="466587"/>
                </a:lnTo>
                <a:lnTo>
                  <a:pt x="3156703" y="490081"/>
                </a:lnTo>
                <a:lnTo>
                  <a:pt x="3151171" y="517596"/>
                </a:lnTo>
                <a:lnTo>
                  <a:pt x="3153464" y="533371"/>
                </a:lnTo>
                <a:lnTo>
                  <a:pt x="3183819" y="576495"/>
                </a:lnTo>
                <a:lnTo>
                  <a:pt x="3222560" y="603083"/>
                </a:lnTo>
                <a:lnTo>
                  <a:pt x="3264089" y="622638"/>
                </a:lnTo>
                <a:lnTo>
                  <a:pt x="3308083" y="634705"/>
                </a:lnTo>
                <a:lnTo>
                  <a:pt x="3354222" y="638828"/>
                </a:lnTo>
                <a:lnTo>
                  <a:pt x="3407425" y="634042"/>
                </a:lnTo>
                <a:lnTo>
                  <a:pt x="3454991" y="620212"/>
                </a:lnTo>
                <a:lnTo>
                  <a:pt x="3495990" y="598128"/>
                </a:lnTo>
                <a:lnTo>
                  <a:pt x="3529494" y="568582"/>
                </a:lnTo>
                <a:lnTo>
                  <a:pt x="3554575" y="532363"/>
                </a:lnTo>
                <a:lnTo>
                  <a:pt x="3566278" y="501042"/>
                </a:lnTo>
                <a:lnTo>
                  <a:pt x="3354222" y="501042"/>
                </a:lnTo>
                <a:lnTo>
                  <a:pt x="3333784" y="498187"/>
                </a:lnTo>
                <a:lnTo>
                  <a:pt x="3315579" y="490630"/>
                </a:lnTo>
                <a:lnTo>
                  <a:pt x="3298560" y="479878"/>
                </a:lnTo>
                <a:lnTo>
                  <a:pt x="3281680" y="467441"/>
                </a:lnTo>
                <a:lnTo>
                  <a:pt x="3270036" y="459270"/>
                </a:lnTo>
                <a:lnTo>
                  <a:pt x="3256476" y="451738"/>
                </a:lnTo>
                <a:lnTo>
                  <a:pt x="3241275" y="446215"/>
                </a:lnTo>
                <a:lnTo>
                  <a:pt x="3224708" y="444070"/>
                </a:lnTo>
                <a:close/>
              </a:path>
              <a:path w="3576319" h="639445">
                <a:moveTo>
                  <a:pt x="3371740" y="0"/>
                </a:moveTo>
                <a:lnTo>
                  <a:pt x="3323612" y="4585"/>
                </a:lnTo>
                <a:lnTo>
                  <a:pt x="3279736" y="17724"/>
                </a:lnTo>
                <a:lnTo>
                  <a:pt x="3241259" y="38487"/>
                </a:lnTo>
                <a:lnTo>
                  <a:pt x="3209332" y="65944"/>
                </a:lnTo>
                <a:lnTo>
                  <a:pt x="3185104" y="99168"/>
                </a:lnTo>
                <a:lnTo>
                  <a:pt x="3169725" y="137229"/>
                </a:lnTo>
                <a:lnTo>
                  <a:pt x="3164382" y="178895"/>
                </a:lnTo>
                <a:lnTo>
                  <a:pt x="3164445" y="179986"/>
                </a:lnTo>
                <a:lnTo>
                  <a:pt x="3171364" y="233293"/>
                </a:lnTo>
                <a:lnTo>
                  <a:pt x="3190421" y="276425"/>
                </a:lnTo>
                <a:lnTo>
                  <a:pt x="3218504" y="310395"/>
                </a:lnTo>
                <a:lnTo>
                  <a:pt x="3252606" y="337008"/>
                </a:lnTo>
                <a:lnTo>
                  <a:pt x="3289716" y="358063"/>
                </a:lnTo>
                <a:lnTo>
                  <a:pt x="3326827" y="375365"/>
                </a:lnTo>
                <a:lnTo>
                  <a:pt x="3360928" y="390714"/>
                </a:lnTo>
                <a:lnTo>
                  <a:pt x="3389012" y="405915"/>
                </a:lnTo>
                <a:lnTo>
                  <a:pt x="3408068" y="422767"/>
                </a:lnTo>
                <a:lnTo>
                  <a:pt x="3415089" y="443075"/>
                </a:lnTo>
                <a:lnTo>
                  <a:pt x="3410989" y="467545"/>
                </a:lnTo>
                <a:lnTo>
                  <a:pt x="3399082" y="485758"/>
                </a:lnTo>
                <a:lnTo>
                  <a:pt x="3379962" y="497122"/>
                </a:lnTo>
                <a:lnTo>
                  <a:pt x="3354222" y="501042"/>
                </a:lnTo>
                <a:lnTo>
                  <a:pt x="3566278" y="501042"/>
                </a:lnTo>
                <a:lnTo>
                  <a:pt x="3570305" y="490264"/>
                </a:lnTo>
                <a:lnTo>
                  <a:pt x="3575754" y="443075"/>
                </a:lnTo>
                <a:lnTo>
                  <a:pt x="3569915" y="391415"/>
                </a:lnTo>
                <a:lnTo>
                  <a:pt x="3553902" y="349647"/>
                </a:lnTo>
                <a:lnTo>
                  <a:pt x="3529978" y="316319"/>
                </a:lnTo>
                <a:lnTo>
                  <a:pt x="3500402" y="289978"/>
                </a:lnTo>
                <a:lnTo>
                  <a:pt x="3467435" y="269171"/>
                </a:lnTo>
                <a:lnTo>
                  <a:pt x="3370795" y="225430"/>
                </a:lnTo>
                <a:lnTo>
                  <a:pt x="3346871" y="212233"/>
                </a:lnTo>
                <a:lnTo>
                  <a:pt x="3330859" y="197307"/>
                </a:lnTo>
                <a:lnTo>
                  <a:pt x="3325019" y="179198"/>
                </a:lnTo>
                <a:lnTo>
                  <a:pt x="3328555" y="162868"/>
                </a:lnTo>
                <a:lnTo>
                  <a:pt x="3338343" y="149740"/>
                </a:lnTo>
                <a:lnTo>
                  <a:pt x="3353149" y="140995"/>
                </a:lnTo>
                <a:lnTo>
                  <a:pt x="3371740" y="137817"/>
                </a:lnTo>
                <a:lnTo>
                  <a:pt x="3556031" y="137817"/>
                </a:lnTo>
                <a:lnTo>
                  <a:pt x="3561169" y="111996"/>
                </a:lnTo>
                <a:lnTo>
                  <a:pt x="3543495" y="65370"/>
                </a:lnTo>
                <a:lnTo>
                  <a:pt x="3494452" y="29790"/>
                </a:lnTo>
                <a:lnTo>
                  <a:pt x="3455250" y="13334"/>
                </a:lnTo>
                <a:lnTo>
                  <a:pt x="3413857" y="3357"/>
                </a:lnTo>
                <a:lnTo>
                  <a:pt x="3371740" y="0"/>
                </a:lnTo>
                <a:close/>
              </a:path>
              <a:path w="3576319" h="639445">
                <a:moveTo>
                  <a:pt x="3556031" y="137817"/>
                </a:moveTo>
                <a:lnTo>
                  <a:pt x="3371740" y="137817"/>
                </a:lnTo>
                <a:lnTo>
                  <a:pt x="3387070" y="139643"/>
                </a:lnTo>
                <a:lnTo>
                  <a:pt x="3402303" y="145119"/>
                </a:lnTo>
                <a:lnTo>
                  <a:pt x="3418445" y="154246"/>
                </a:lnTo>
                <a:lnTo>
                  <a:pt x="3436502" y="167021"/>
                </a:lnTo>
                <a:lnTo>
                  <a:pt x="3448629" y="174486"/>
                </a:lnTo>
                <a:lnTo>
                  <a:pt x="3461891" y="179986"/>
                </a:lnTo>
                <a:lnTo>
                  <a:pt x="3475605" y="183386"/>
                </a:lnTo>
                <a:lnTo>
                  <a:pt x="3489087" y="184549"/>
                </a:lnTo>
                <a:lnTo>
                  <a:pt x="3517198" y="178895"/>
                </a:lnTo>
                <a:lnTo>
                  <a:pt x="3540104" y="163425"/>
                </a:lnTo>
                <a:lnTo>
                  <a:pt x="3555522" y="140379"/>
                </a:lnTo>
                <a:lnTo>
                  <a:pt x="3556031" y="137817"/>
                </a:lnTo>
                <a:close/>
              </a:path>
              <a:path w="3576319" h="639445">
                <a:moveTo>
                  <a:pt x="2782951" y="444070"/>
                </a:moveTo>
                <a:lnTo>
                  <a:pt x="2753593" y="450216"/>
                </a:lnTo>
                <a:lnTo>
                  <a:pt x="2730300" y="466587"/>
                </a:lnTo>
                <a:lnTo>
                  <a:pt x="2714948" y="490081"/>
                </a:lnTo>
                <a:lnTo>
                  <a:pt x="2709414" y="517596"/>
                </a:lnTo>
                <a:lnTo>
                  <a:pt x="2711708" y="533371"/>
                </a:lnTo>
                <a:lnTo>
                  <a:pt x="2742063" y="576495"/>
                </a:lnTo>
                <a:lnTo>
                  <a:pt x="2780808" y="603083"/>
                </a:lnTo>
                <a:lnTo>
                  <a:pt x="2822338" y="622638"/>
                </a:lnTo>
                <a:lnTo>
                  <a:pt x="2866333" y="634705"/>
                </a:lnTo>
                <a:lnTo>
                  <a:pt x="2912476" y="638828"/>
                </a:lnTo>
                <a:lnTo>
                  <a:pt x="2965676" y="634042"/>
                </a:lnTo>
                <a:lnTo>
                  <a:pt x="3013240" y="620212"/>
                </a:lnTo>
                <a:lnTo>
                  <a:pt x="3054240" y="598128"/>
                </a:lnTo>
                <a:lnTo>
                  <a:pt x="3087745" y="568582"/>
                </a:lnTo>
                <a:lnTo>
                  <a:pt x="3112828" y="532363"/>
                </a:lnTo>
                <a:lnTo>
                  <a:pt x="3124531" y="501042"/>
                </a:lnTo>
                <a:lnTo>
                  <a:pt x="2912476" y="501042"/>
                </a:lnTo>
                <a:lnTo>
                  <a:pt x="2892028" y="498187"/>
                </a:lnTo>
                <a:lnTo>
                  <a:pt x="2873819" y="490630"/>
                </a:lnTo>
                <a:lnTo>
                  <a:pt x="2856798" y="479878"/>
                </a:lnTo>
                <a:lnTo>
                  <a:pt x="2839913" y="467441"/>
                </a:lnTo>
                <a:lnTo>
                  <a:pt x="2828277" y="459270"/>
                </a:lnTo>
                <a:lnTo>
                  <a:pt x="2814723" y="451738"/>
                </a:lnTo>
                <a:lnTo>
                  <a:pt x="2799523" y="446215"/>
                </a:lnTo>
                <a:lnTo>
                  <a:pt x="2782951" y="444070"/>
                </a:lnTo>
                <a:close/>
              </a:path>
              <a:path w="3576319" h="639445">
                <a:moveTo>
                  <a:pt x="2929984" y="0"/>
                </a:moveTo>
                <a:lnTo>
                  <a:pt x="2881858" y="4585"/>
                </a:lnTo>
                <a:lnTo>
                  <a:pt x="2837980" y="17724"/>
                </a:lnTo>
                <a:lnTo>
                  <a:pt x="2799499" y="38487"/>
                </a:lnTo>
                <a:lnTo>
                  <a:pt x="2767567" y="65944"/>
                </a:lnTo>
                <a:lnTo>
                  <a:pt x="2743333" y="99168"/>
                </a:lnTo>
                <a:lnTo>
                  <a:pt x="2727949" y="137229"/>
                </a:lnTo>
                <a:lnTo>
                  <a:pt x="2722605" y="178895"/>
                </a:lnTo>
                <a:lnTo>
                  <a:pt x="2722668" y="179986"/>
                </a:lnTo>
                <a:lnTo>
                  <a:pt x="2729587" y="233293"/>
                </a:lnTo>
                <a:lnTo>
                  <a:pt x="2748646" y="276425"/>
                </a:lnTo>
                <a:lnTo>
                  <a:pt x="2776732" y="310395"/>
                </a:lnTo>
                <a:lnTo>
                  <a:pt x="2810836" y="337008"/>
                </a:lnTo>
                <a:lnTo>
                  <a:pt x="2847949" y="358063"/>
                </a:lnTo>
                <a:lnTo>
                  <a:pt x="2885063" y="375365"/>
                </a:lnTo>
                <a:lnTo>
                  <a:pt x="2919167" y="390714"/>
                </a:lnTo>
                <a:lnTo>
                  <a:pt x="2947253" y="405915"/>
                </a:lnTo>
                <a:lnTo>
                  <a:pt x="2966312" y="422767"/>
                </a:lnTo>
                <a:lnTo>
                  <a:pt x="2973333" y="443075"/>
                </a:lnTo>
                <a:lnTo>
                  <a:pt x="2969230" y="467545"/>
                </a:lnTo>
                <a:lnTo>
                  <a:pt x="2957319" y="485758"/>
                </a:lnTo>
                <a:lnTo>
                  <a:pt x="2938201" y="497122"/>
                </a:lnTo>
                <a:lnTo>
                  <a:pt x="2912476" y="501042"/>
                </a:lnTo>
                <a:lnTo>
                  <a:pt x="3124531" y="501042"/>
                </a:lnTo>
                <a:lnTo>
                  <a:pt x="3128559" y="490264"/>
                </a:lnTo>
                <a:lnTo>
                  <a:pt x="3134009" y="443075"/>
                </a:lnTo>
                <a:lnTo>
                  <a:pt x="3128168" y="391415"/>
                </a:lnTo>
                <a:lnTo>
                  <a:pt x="3112155" y="349647"/>
                </a:lnTo>
                <a:lnTo>
                  <a:pt x="3088228" y="316319"/>
                </a:lnTo>
                <a:lnTo>
                  <a:pt x="3058650" y="289978"/>
                </a:lnTo>
                <a:lnTo>
                  <a:pt x="3025680" y="269171"/>
                </a:lnTo>
                <a:lnTo>
                  <a:pt x="2929033" y="225430"/>
                </a:lnTo>
                <a:lnTo>
                  <a:pt x="2905106" y="212233"/>
                </a:lnTo>
                <a:lnTo>
                  <a:pt x="2889092" y="197307"/>
                </a:lnTo>
                <a:lnTo>
                  <a:pt x="2883252" y="179198"/>
                </a:lnTo>
                <a:lnTo>
                  <a:pt x="2886790" y="162868"/>
                </a:lnTo>
                <a:lnTo>
                  <a:pt x="2896581" y="149740"/>
                </a:lnTo>
                <a:lnTo>
                  <a:pt x="2911391" y="140995"/>
                </a:lnTo>
                <a:lnTo>
                  <a:pt x="2929984" y="137817"/>
                </a:lnTo>
                <a:lnTo>
                  <a:pt x="3114265" y="137817"/>
                </a:lnTo>
                <a:lnTo>
                  <a:pt x="3119402" y="111996"/>
                </a:lnTo>
                <a:lnTo>
                  <a:pt x="3101737" y="65370"/>
                </a:lnTo>
                <a:lnTo>
                  <a:pt x="3052689" y="29790"/>
                </a:lnTo>
                <a:lnTo>
                  <a:pt x="3013490" y="13334"/>
                </a:lnTo>
                <a:lnTo>
                  <a:pt x="2972103" y="3357"/>
                </a:lnTo>
                <a:lnTo>
                  <a:pt x="2929984" y="0"/>
                </a:lnTo>
                <a:close/>
              </a:path>
              <a:path w="3576319" h="639445">
                <a:moveTo>
                  <a:pt x="3114265" y="137817"/>
                </a:moveTo>
                <a:lnTo>
                  <a:pt x="2929984" y="137817"/>
                </a:lnTo>
                <a:lnTo>
                  <a:pt x="2945305" y="139643"/>
                </a:lnTo>
                <a:lnTo>
                  <a:pt x="2960540" y="145119"/>
                </a:lnTo>
                <a:lnTo>
                  <a:pt x="2976690" y="154246"/>
                </a:lnTo>
                <a:lnTo>
                  <a:pt x="2994756" y="167021"/>
                </a:lnTo>
                <a:lnTo>
                  <a:pt x="3006879" y="174486"/>
                </a:lnTo>
                <a:lnTo>
                  <a:pt x="3020141" y="179986"/>
                </a:lnTo>
                <a:lnTo>
                  <a:pt x="3033853" y="183386"/>
                </a:lnTo>
                <a:lnTo>
                  <a:pt x="3047331" y="184549"/>
                </a:lnTo>
                <a:lnTo>
                  <a:pt x="3075435" y="178895"/>
                </a:lnTo>
                <a:lnTo>
                  <a:pt x="3098338" y="163425"/>
                </a:lnTo>
                <a:lnTo>
                  <a:pt x="3113755" y="140379"/>
                </a:lnTo>
                <a:lnTo>
                  <a:pt x="3114265" y="137817"/>
                </a:lnTo>
                <a:close/>
              </a:path>
              <a:path w="3576319" h="639445">
                <a:moveTo>
                  <a:pt x="2588559" y="5382"/>
                </a:moveTo>
                <a:lnTo>
                  <a:pt x="2360692" y="5382"/>
                </a:lnTo>
                <a:lnTo>
                  <a:pt x="2329537" y="10486"/>
                </a:lnTo>
                <a:lnTo>
                  <a:pt x="2304682" y="24673"/>
                </a:lnTo>
                <a:lnTo>
                  <a:pt x="2288227" y="46256"/>
                </a:lnTo>
                <a:lnTo>
                  <a:pt x="2282276" y="73547"/>
                </a:lnTo>
                <a:lnTo>
                  <a:pt x="2282276" y="564338"/>
                </a:lnTo>
                <a:lnTo>
                  <a:pt x="2288227" y="591983"/>
                </a:lnTo>
                <a:lnTo>
                  <a:pt x="2304682" y="613875"/>
                </a:lnTo>
                <a:lnTo>
                  <a:pt x="2329537" y="628280"/>
                </a:lnTo>
                <a:lnTo>
                  <a:pt x="2360692" y="633467"/>
                </a:lnTo>
                <a:lnTo>
                  <a:pt x="2605103" y="633467"/>
                </a:lnTo>
                <a:lnTo>
                  <a:pt x="2635331" y="628280"/>
                </a:lnTo>
                <a:lnTo>
                  <a:pt x="2658169" y="613875"/>
                </a:lnTo>
                <a:lnTo>
                  <a:pt x="2672609" y="591983"/>
                </a:lnTo>
                <a:lnTo>
                  <a:pt x="2677646" y="564338"/>
                </a:lnTo>
                <a:lnTo>
                  <a:pt x="2672609" y="536767"/>
                </a:lnTo>
                <a:lnTo>
                  <a:pt x="2658169" y="515037"/>
                </a:lnTo>
                <a:lnTo>
                  <a:pt x="2635331" y="500794"/>
                </a:lnTo>
                <a:lnTo>
                  <a:pt x="2605103" y="495681"/>
                </a:lnTo>
                <a:lnTo>
                  <a:pt x="2440533" y="495681"/>
                </a:lnTo>
                <a:lnTo>
                  <a:pt x="2440533" y="379307"/>
                </a:lnTo>
                <a:lnTo>
                  <a:pt x="2574434" y="379307"/>
                </a:lnTo>
                <a:lnTo>
                  <a:pt x="2604671" y="374045"/>
                </a:lnTo>
                <a:lnTo>
                  <a:pt x="2627507" y="359474"/>
                </a:lnTo>
                <a:lnTo>
                  <a:pt x="2641942" y="337417"/>
                </a:lnTo>
                <a:lnTo>
                  <a:pt x="2646976" y="309697"/>
                </a:lnTo>
                <a:lnTo>
                  <a:pt x="2641942" y="282325"/>
                </a:lnTo>
                <a:lnTo>
                  <a:pt x="2627507" y="260566"/>
                </a:lnTo>
                <a:lnTo>
                  <a:pt x="2604671" y="246203"/>
                </a:lnTo>
                <a:lnTo>
                  <a:pt x="2574434" y="241018"/>
                </a:lnTo>
                <a:lnTo>
                  <a:pt x="2440533" y="241018"/>
                </a:lnTo>
                <a:lnTo>
                  <a:pt x="2440533" y="143168"/>
                </a:lnTo>
                <a:lnTo>
                  <a:pt x="2588559" y="143168"/>
                </a:lnTo>
                <a:lnTo>
                  <a:pt x="2618584" y="137972"/>
                </a:lnTo>
                <a:lnTo>
                  <a:pt x="2641444" y="123510"/>
                </a:lnTo>
                <a:lnTo>
                  <a:pt x="2655997" y="101472"/>
                </a:lnTo>
                <a:lnTo>
                  <a:pt x="2661102" y="73547"/>
                </a:lnTo>
                <a:lnTo>
                  <a:pt x="2656063" y="46256"/>
                </a:lnTo>
                <a:lnTo>
                  <a:pt x="2641621" y="24673"/>
                </a:lnTo>
                <a:lnTo>
                  <a:pt x="2618783" y="10486"/>
                </a:lnTo>
                <a:lnTo>
                  <a:pt x="2588559" y="5382"/>
                </a:lnTo>
                <a:close/>
              </a:path>
              <a:path w="3576319" h="639445">
                <a:moveTo>
                  <a:pt x="1816185" y="5382"/>
                </a:moveTo>
                <a:lnTo>
                  <a:pt x="1805955" y="5382"/>
                </a:lnTo>
                <a:lnTo>
                  <a:pt x="1773214" y="12090"/>
                </a:lnTo>
                <a:lnTo>
                  <a:pt x="1748187" y="29844"/>
                </a:lnTo>
                <a:lnTo>
                  <a:pt x="1732199" y="55086"/>
                </a:lnTo>
                <a:lnTo>
                  <a:pt x="1726575" y="84259"/>
                </a:lnTo>
                <a:lnTo>
                  <a:pt x="1726575" y="563344"/>
                </a:lnTo>
                <a:lnTo>
                  <a:pt x="1732747" y="591148"/>
                </a:lnTo>
                <a:lnTo>
                  <a:pt x="1749648" y="613381"/>
                </a:lnTo>
                <a:lnTo>
                  <a:pt x="1774857" y="628126"/>
                </a:lnTo>
                <a:lnTo>
                  <a:pt x="1805955" y="633467"/>
                </a:lnTo>
                <a:lnTo>
                  <a:pt x="1836977" y="628126"/>
                </a:lnTo>
                <a:lnTo>
                  <a:pt x="1862021" y="613381"/>
                </a:lnTo>
                <a:lnTo>
                  <a:pt x="1878757" y="591148"/>
                </a:lnTo>
                <a:lnTo>
                  <a:pt x="1884853" y="563344"/>
                </a:lnTo>
                <a:lnTo>
                  <a:pt x="1884853" y="341822"/>
                </a:lnTo>
                <a:lnTo>
                  <a:pt x="2189148" y="341822"/>
                </a:lnTo>
                <a:lnTo>
                  <a:pt x="2189148" y="306775"/>
                </a:lnTo>
                <a:lnTo>
                  <a:pt x="2030901" y="306775"/>
                </a:lnTo>
                <a:lnTo>
                  <a:pt x="2012315" y="263344"/>
                </a:lnTo>
                <a:lnTo>
                  <a:pt x="1989944" y="212117"/>
                </a:lnTo>
                <a:lnTo>
                  <a:pt x="1966749" y="160991"/>
                </a:lnTo>
                <a:lnTo>
                  <a:pt x="1945689" y="117860"/>
                </a:lnTo>
                <a:lnTo>
                  <a:pt x="1919019" y="70079"/>
                </a:lnTo>
                <a:lnTo>
                  <a:pt x="1891531" y="34771"/>
                </a:lnTo>
                <a:lnTo>
                  <a:pt x="1858746" y="12888"/>
                </a:lnTo>
                <a:lnTo>
                  <a:pt x="1816185" y="5382"/>
                </a:lnTo>
                <a:close/>
              </a:path>
              <a:path w="3576319" h="639445">
                <a:moveTo>
                  <a:pt x="2189148" y="341822"/>
                </a:moveTo>
                <a:lnTo>
                  <a:pt x="1884853" y="341822"/>
                </a:lnTo>
                <a:lnTo>
                  <a:pt x="1898307" y="372205"/>
                </a:lnTo>
                <a:lnTo>
                  <a:pt x="1940338" y="459179"/>
                </a:lnTo>
                <a:lnTo>
                  <a:pt x="1967239" y="512857"/>
                </a:lnTo>
                <a:lnTo>
                  <a:pt x="1990070" y="554171"/>
                </a:lnTo>
                <a:lnTo>
                  <a:pt x="2031383" y="608641"/>
                </a:lnTo>
                <a:lnTo>
                  <a:pt x="2076786" y="631507"/>
                </a:lnTo>
                <a:lnTo>
                  <a:pt x="2101014" y="633467"/>
                </a:lnTo>
                <a:lnTo>
                  <a:pt x="2109778" y="633467"/>
                </a:lnTo>
                <a:lnTo>
                  <a:pt x="2141696" y="627140"/>
                </a:lnTo>
                <a:lnTo>
                  <a:pt x="2166810" y="610224"/>
                </a:lnTo>
                <a:lnTo>
                  <a:pt x="2183251" y="585821"/>
                </a:lnTo>
                <a:lnTo>
                  <a:pt x="2189148" y="557030"/>
                </a:lnTo>
                <a:lnTo>
                  <a:pt x="2189148" y="341822"/>
                </a:lnTo>
                <a:close/>
              </a:path>
              <a:path w="3576319" h="639445">
                <a:moveTo>
                  <a:pt x="2109778" y="5382"/>
                </a:moveTo>
                <a:lnTo>
                  <a:pt x="2078764" y="10720"/>
                </a:lnTo>
                <a:lnTo>
                  <a:pt x="2053726" y="25459"/>
                </a:lnTo>
                <a:lnTo>
                  <a:pt x="2036996" y="47683"/>
                </a:lnTo>
                <a:lnTo>
                  <a:pt x="2030901" y="75474"/>
                </a:lnTo>
                <a:lnTo>
                  <a:pt x="2030901" y="306775"/>
                </a:lnTo>
                <a:lnTo>
                  <a:pt x="2189148" y="306775"/>
                </a:lnTo>
                <a:lnTo>
                  <a:pt x="2189148" y="75474"/>
                </a:lnTo>
                <a:lnTo>
                  <a:pt x="2182976" y="47683"/>
                </a:lnTo>
                <a:lnTo>
                  <a:pt x="2166076" y="25459"/>
                </a:lnTo>
                <a:lnTo>
                  <a:pt x="2140870" y="10720"/>
                </a:lnTo>
                <a:lnTo>
                  <a:pt x="2109778" y="5382"/>
                </a:lnTo>
                <a:close/>
              </a:path>
              <a:path w="3576319" h="639445">
                <a:moveTo>
                  <a:pt x="1554570" y="5382"/>
                </a:moveTo>
                <a:lnTo>
                  <a:pt x="1523352" y="10636"/>
                </a:lnTo>
                <a:lnTo>
                  <a:pt x="1498337" y="25154"/>
                </a:lnTo>
                <a:lnTo>
                  <a:pt x="1481720" y="47069"/>
                </a:lnTo>
                <a:lnTo>
                  <a:pt x="1475693" y="74510"/>
                </a:lnTo>
                <a:lnTo>
                  <a:pt x="1475693" y="563344"/>
                </a:lnTo>
                <a:lnTo>
                  <a:pt x="1481787" y="591148"/>
                </a:lnTo>
                <a:lnTo>
                  <a:pt x="1498518" y="613381"/>
                </a:lnTo>
                <a:lnTo>
                  <a:pt x="1523555" y="628126"/>
                </a:lnTo>
                <a:lnTo>
                  <a:pt x="1554570" y="633467"/>
                </a:lnTo>
                <a:lnTo>
                  <a:pt x="1585591" y="628126"/>
                </a:lnTo>
                <a:lnTo>
                  <a:pt x="1610631" y="613381"/>
                </a:lnTo>
                <a:lnTo>
                  <a:pt x="1627363" y="591148"/>
                </a:lnTo>
                <a:lnTo>
                  <a:pt x="1633458" y="563344"/>
                </a:lnTo>
                <a:lnTo>
                  <a:pt x="1633458" y="74510"/>
                </a:lnTo>
                <a:lnTo>
                  <a:pt x="1627432" y="47069"/>
                </a:lnTo>
                <a:lnTo>
                  <a:pt x="1610816" y="25154"/>
                </a:lnTo>
                <a:lnTo>
                  <a:pt x="1585798" y="10636"/>
                </a:lnTo>
                <a:lnTo>
                  <a:pt x="1554570" y="5382"/>
                </a:lnTo>
                <a:close/>
              </a:path>
              <a:path w="3576319" h="639445">
                <a:moveTo>
                  <a:pt x="1063161" y="444070"/>
                </a:moveTo>
                <a:lnTo>
                  <a:pt x="1033806" y="450216"/>
                </a:lnTo>
                <a:lnTo>
                  <a:pt x="1010520" y="466587"/>
                </a:lnTo>
                <a:lnTo>
                  <a:pt x="995176" y="490081"/>
                </a:lnTo>
                <a:lnTo>
                  <a:pt x="989645" y="517596"/>
                </a:lnTo>
                <a:lnTo>
                  <a:pt x="991935" y="533371"/>
                </a:lnTo>
                <a:lnTo>
                  <a:pt x="1022262" y="576495"/>
                </a:lnTo>
                <a:lnTo>
                  <a:pt x="1061009" y="603083"/>
                </a:lnTo>
                <a:lnTo>
                  <a:pt x="1102542" y="622638"/>
                </a:lnTo>
                <a:lnTo>
                  <a:pt x="1146541" y="634705"/>
                </a:lnTo>
                <a:lnTo>
                  <a:pt x="1192686" y="638828"/>
                </a:lnTo>
                <a:lnTo>
                  <a:pt x="1245892" y="634042"/>
                </a:lnTo>
                <a:lnTo>
                  <a:pt x="1293459" y="620212"/>
                </a:lnTo>
                <a:lnTo>
                  <a:pt x="1334458" y="598128"/>
                </a:lnTo>
                <a:lnTo>
                  <a:pt x="1367961" y="568582"/>
                </a:lnTo>
                <a:lnTo>
                  <a:pt x="1393041" y="532363"/>
                </a:lnTo>
                <a:lnTo>
                  <a:pt x="1404743" y="501042"/>
                </a:lnTo>
                <a:lnTo>
                  <a:pt x="1192686" y="501042"/>
                </a:lnTo>
                <a:lnTo>
                  <a:pt x="1172244" y="498187"/>
                </a:lnTo>
                <a:lnTo>
                  <a:pt x="1154038" y="490630"/>
                </a:lnTo>
                <a:lnTo>
                  <a:pt x="1137018" y="479878"/>
                </a:lnTo>
                <a:lnTo>
                  <a:pt x="1120133" y="467441"/>
                </a:lnTo>
                <a:lnTo>
                  <a:pt x="1108491" y="459270"/>
                </a:lnTo>
                <a:lnTo>
                  <a:pt x="1094933" y="451738"/>
                </a:lnTo>
                <a:lnTo>
                  <a:pt x="1079733" y="446215"/>
                </a:lnTo>
                <a:lnTo>
                  <a:pt x="1063161" y="444070"/>
                </a:lnTo>
                <a:close/>
              </a:path>
              <a:path w="3576319" h="639445">
                <a:moveTo>
                  <a:pt x="1210224" y="0"/>
                </a:moveTo>
                <a:lnTo>
                  <a:pt x="1162088" y="4585"/>
                </a:lnTo>
                <a:lnTo>
                  <a:pt x="1118203" y="17724"/>
                </a:lnTo>
                <a:lnTo>
                  <a:pt x="1079719" y="38487"/>
                </a:lnTo>
                <a:lnTo>
                  <a:pt x="1047785" y="65944"/>
                </a:lnTo>
                <a:lnTo>
                  <a:pt x="1023552" y="99168"/>
                </a:lnTo>
                <a:lnTo>
                  <a:pt x="1008169" y="137229"/>
                </a:lnTo>
                <a:lnTo>
                  <a:pt x="1002825" y="178895"/>
                </a:lnTo>
                <a:lnTo>
                  <a:pt x="1002888" y="179986"/>
                </a:lnTo>
                <a:lnTo>
                  <a:pt x="1009807" y="233293"/>
                </a:lnTo>
                <a:lnTo>
                  <a:pt x="1028866" y="276425"/>
                </a:lnTo>
                <a:lnTo>
                  <a:pt x="1056951" y="310395"/>
                </a:lnTo>
                <a:lnTo>
                  <a:pt x="1091056" y="337008"/>
                </a:lnTo>
                <a:lnTo>
                  <a:pt x="1128169" y="358063"/>
                </a:lnTo>
                <a:lnTo>
                  <a:pt x="1165283" y="375365"/>
                </a:lnTo>
                <a:lnTo>
                  <a:pt x="1199387" y="390714"/>
                </a:lnTo>
                <a:lnTo>
                  <a:pt x="1227473" y="405915"/>
                </a:lnTo>
                <a:lnTo>
                  <a:pt x="1246531" y="422767"/>
                </a:lnTo>
                <a:lnTo>
                  <a:pt x="1253553" y="443075"/>
                </a:lnTo>
                <a:lnTo>
                  <a:pt x="1249451" y="467545"/>
                </a:lnTo>
                <a:lnTo>
                  <a:pt x="1237542" y="485758"/>
                </a:lnTo>
                <a:lnTo>
                  <a:pt x="1218421" y="497122"/>
                </a:lnTo>
                <a:lnTo>
                  <a:pt x="1192686" y="501042"/>
                </a:lnTo>
                <a:lnTo>
                  <a:pt x="1404743" y="501042"/>
                </a:lnTo>
                <a:lnTo>
                  <a:pt x="1408769" y="490264"/>
                </a:lnTo>
                <a:lnTo>
                  <a:pt x="1414218" y="443075"/>
                </a:lnTo>
                <a:lnTo>
                  <a:pt x="1408378" y="391415"/>
                </a:lnTo>
                <a:lnTo>
                  <a:pt x="1392365" y="349647"/>
                </a:lnTo>
                <a:lnTo>
                  <a:pt x="1368440" y="316319"/>
                </a:lnTo>
                <a:lnTo>
                  <a:pt x="1338862" y="289978"/>
                </a:lnTo>
                <a:lnTo>
                  <a:pt x="1305894" y="269171"/>
                </a:lnTo>
                <a:lnTo>
                  <a:pt x="1209251" y="225430"/>
                </a:lnTo>
                <a:lnTo>
                  <a:pt x="1185325" y="212233"/>
                </a:lnTo>
                <a:lnTo>
                  <a:pt x="1169312" y="197307"/>
                </a:lnTo>
                <a:lnTo>
                  <a:pt x="1163472" y="179198"/>
                </a:lnTo>
                <a:lnTo>
                  <a:pt x="1167009" y="162868"/>
                </a:lnTo>
                <a:lnTo>
                  <a:pt x="1176800" y="149740"/>
                </a:lnTo>
                <a:lnTo>
                  <a:pt x="1191615" y="140995"/>
                </a:lnTo>
                <a:lnTo>
                  <a:pt x="1210224" y="137817"/>
                </a:lnTo>
                <a:lnTo>
                  <a:pt x="1394475" y="137817"/>
                </a:lnTo>
                <a:lnTo>
                  <a:pt x="1399611" y="111996"/>
                </a:lnTo>
                <a:lnTo>
                  <a:pt x="1381951" y="65370"/>
                </a:lnTo>
                <a:lnTo>
                  <a:pt x="1332913" y="29790"/>
                </a:lnTo>
                <a:lnTo>
                  <a:pt x="1293717" y="13334"/>
                </a:lnTo>
                <a:lnTo>
                  <a:pt x="1252333" y="3357"/>
                </a:lnTo>
                <a:lnTo>
                  <a:pt x="1210224" y="0"/>
                </a:lnTo>
                <a:close/>
              </a:path>
              <a:path w="3576319" h="639445">
                <a:moveTo>
                  <a:pt x="1394475" y="137817"/>
                </a:moveTo>
                <a:lnTo>
                  <a:pt x="1210224" y="137817"/>
                </a:lnTo>
                <a:lnTo>
                  <a:pt x="1225538" y="139643"/>
                </a:lnTo>
                <a:lnTo>
                  <a:pt x="1240765" y="145119"/>
                </a:lnTo>
                <a:lnTo>
                  <a:pt x="1256908" y="154246"/>
                </a:lnTo>
                <a:lnTo>
                  <a:pt x="1274966" y="167021"/>
                </a:lnTo>
                <a:lnTo>
                  <a:pt x="1287089" y="174486"/>
                </a:lnTo>
                <a:lnTo>
                  <a:pt x="1300353" y="179986"/>
                </a:lnTo>
                <a:lnTo>
                  <a:pt x="1314072" y="183386"/>
                </a:lnTo>
                <a:lnTo>
                  <a:pt x="1327561" y="184549"/>
                </a:lnTo>
                <a:lnTo>
                  <a:pt x="1355654" y="178895"/>
                </a:lnTo>
                <a:lnTo>
                  <a:pt x="1378550" y="163425"/>
                </a:lnTo>
                <a:lnTo>
                  <a:pt x="1393965" y="140379"/>
                </a:lnTo>
                <a:lnTo>
                  <a:pt x="1394475" y="137817"/>
                </a:lnTo>
                <a:close/>
              </a:path>
              <a:path w="3576319" h="639445">
                <a:moveTo>
                  <a:pt x="562988" y="5382"/>
                </a:moveTo>
                <a:lnTo>
                  <a:pt x="531609" y="10713"/>
                </a:lnTo>
                <a:lnTo>
                  <a:pt x="506260" y="25402"/>
                </a:lnTo>
                <a:lnTo>
                  <a:pt x="489313" y="47488"/>
                </a:lnTo>
                <a:lnTo>
                  <a:pt x="483137" y="75013"/>
                </a:lnTo>
                <a:lnTo>
                  <a:pt x="483137" y="413390"/>
                </a:lnTo>
                <a:lnTo>
                  <a:pt x="487304" y="462381"/>
                </a:lnTo>
                <a:lnTo>
                  <a:pt x="499493" y="506414"/>
                </a:lnTo>
                <a:lnTo>
                  <a:pt x="519237" y="545003"/>
                </a:lnTo>
                <a:lnTo>
                  <a:pt x="546068" y="577664"/>
                </a:lnTo>
                <a:lnTo>
                  <a:pt x="579517" y="603911"/>
                </a:lnTo>
                <a:lnTo>
                  <a:pt x="619118" y="623259"/>
                </a:lnTo>
                <a:lnTo>
                  <a:pt x="664401" y="635224"/>
                </a:lnTo>
                <a:lnTo>
                  <a:pt x="714899" y="639320"/>
                </a:lnTo>
                <a:lnTo>
                  <a:pt x="765440" y="635224"/>
                </a:lnTo>
                <a:lnTo>
                  <a:pt x="810835" y="623259"/>
                </a:lnTo>
                <a:lnTo>
                  <a:pt x="850592" y="603911"/>
                </a:lnTo>
                <a:lnTo>
                  <a:pt x="884223" y="577664"/>
                </a:lnTo>
                <a:lnTo>
                  <a:pt x="911234" y="545003"/>
                </a:lnTo>
                <a:lnTo>
                  <a:pt x="931136" y="506414"/>
                </a:lnTo>
                <a:lnTo>
                  <a:pt x="932636" y="501042"/>
                </a:lnTo>
                <a:lnTo>
                  <a:pt x="715873" y="501042"/>
                </a:lnTo>
                <a:lnTo>
                  <a:pt x="683822" y="495052"/>
                </a:lnTo>
                <a:lnTo>
                  <a:pt x="660303" y="477601"/>
                </a:lnTo>
                <a:lnTo>
                  <a:pt x="645820" y="449469"/>
                </a:lnTo>
                <a:lnTo>
                  <a:pt x="640881" y="411432"/>
                </a:lnTo>
                <a:lnTo>
                  <a:pt x="640881" y="75013"/>
                </a:lnTo>
                <a:lnTo>
                  <a:pt x="634872" y="47488"/>
                </a:lnTo>
                <a:lnTo>
                  <a:pt x="618367" y="25402"/>
                </a:lnTo>
                <a:lnTo>
                  <a:pt x="593645" y="10713"/>
                </a:lnTo>
                <a:lnTo>
                  <a:pt x="562988" y="5382"/>
                </a:lnTo>
                <a:close/>
              </a:path>
              <a:path w="3576319" h="639445">
                <a:moveTo>
                  <a:pt x="868769" y="5382"/>
                </a:moveTo>
                <a:lnTo>
                  <a:pt x="837539" y="10644"/>
                </a:lnTo>
                <a:lnTo>
                  <a:pt x="812518" y="25217"/>
                </a:lnTo>
                <a:lnTo>
                  <a:pt x="795898" y="47281"/>
                </a:lnTo>
                <a:lnTo>
                  <a:pt x="789871" y="75013"/>
                </a:lnTo>
                <a:lnTo>
                  <a:pt x="789871" y="411432"/>
                </a:lnTo>
                <a:lnTo>
                  <a:pt x="785019" y="449681"/>
                </a:lnTo>
                <a:lnTo>
                  <a:pt x="770765" y="477790"/>
                </a:lnTo>
                <a:lnTo>
                  <a:pt x="747565" y="495123"/>
                </a:lnTo>
                <a:lnTo>
                  <a:pt x="715873" y="501042"/>
                </a:lnTo>
                <a:lnTo>
                  <a:pt x="932636" y="501042"/>
                </a:lnTo>
                <a:lnTo>
                  <a:pt x="943437" y="462381"/>
                </a:lnTo>
                <a:lnTo>
                  <a:pt x="947646" y="413390"/>
                </a:lnTo>
                <a:lnTo>
                  <a:pt x="947646" y="75013"/>
                </a:lnTo>
                <a:lnTo>
                  <a:pt x="941621" y="47281"/>
                </a:lnTo>
                <a:lnTo>
                  <a:pt x="925005" y="25217"/>
                </a:lnTo>
                <a:lnTo>
                  <a:pt x="899991" y="10644"/>
                </a:lnTo>
                <a:lnTo>
                  <a:pt x="868769" y="5382"/>
                </a:lnTo>
                <a:close/>
              </a:path>
              <a:path w="3576319" h="639445">
                <a:moveTo>
                  <a:pt x="182099" y="5382"/>
                </a:moveTo>
                <a:lnTo>
                  <a:pt x="78385" y="5382"/>
                </a:lnTo>
                <a:lnTo>
                  <a:pt x="47239" y="10486"/>
                </a:lnTo>
                <a:lnTo>
                  <a:pt x="22394" y="24673"/>
                </a:lnTo>
                <a:lnTo>
                  <a:pt x="5948" y="46256"/>
                </a:lnTo>
                <a:lnTo>
                  <a:pt x="0" y="73547"/>
                </a:lnTo>
                <a:lnTo>
                  <a:pt x="0" y="563344"/>
                </a:lnTo>
                <a:lnTo>
                  <a:pt x="6245" y="591148"/>
                </a:lnTo>
                <a:lnTo>
                  <a:pt x="23308" y="613381"/>
                </a:lnTo>
                <a:lnTo>
                  <a:pt x="48679" y="628126"/>
                </a:lnTo>
                <a:lnTo>
                  <a:pt x="79850" y="633467"/>
                </a:lnTo>
                <a:lnTo>
                  <a:pt x="182099" y="633467"/>
                </a:lnTo>
                <a:lnTo>
                  <a:pt x="239164" y="630312"/>
                </a:lnTo>
                <a:lnTo>
                  <a:pt x="289343" y="620915"/>
                </a:lnTo>
                <a:lnTo>
                  <a:pt x="332413" y="605380"/>
                </a:lnTo>
                <a:lnTo>
                  <a:pt x="368152" y="583808"/>
                </a:lnTo>
                <a:lnTo>
                  <a:pt x="396336" y="556302"/>
                </a:lnTo>
                <a:lnTo>
                  <a:pt x="416744" y="522966"/>
                </a:lnTo>
                <a:lnTo>
                  <a:pt x="425410" y="495681"/>
                </a:lnTo>
                <a:lnTo>
                  <a:pt x="158246" y="495681"/>
                </a:lnTo>
                <a:lnTo>
                  <a:pt x="158246" y="384668"/>
                </a:lnTo>
                <a:lnTo>
                  <a:pt x="422656" y="384668"/>
                </a:lnTo>
                <a:lnTo>
                  <a:pt x="412346" y="358499"/>
                </a:lnTo>
                <a:lnTo>
                  <a:pt x="387131" y="323755"/>
                </a:lnTo>
                <a:lnTo>
                  <a:pt x="353015" y="297498"/>
                </a:lnTo>
                <a:lnTo>
                  <a:pt x="377443" y="274517"/>
                </a:lnTo>
                <a:lnTo>
                  <a:pt x="395117" y="247603"/>
                </a:lnTo>
                <a:lnTo>
                  <a:pt x="395383" y="246882"/>
                </a:lnTo>
                <a:lnTo>
                  <a:pt x="158246" y="246882"/>
                </a:lnTo>
                <a:lnTo>
                  <a:pt x="158246" y="143168"/>
                </a:lnTo>
                <a:lnTo>
                  <a:pt x="404627" y="143168"/>
                </a:lnTo>
                <a:lnTo>
                  <a:pt x="404468" y="141664"/>
                </a:lnTo>
                <a:lnTo>
                  <a:pt x="389693" y="101013"/>
                </a:lnTo>
                <a:lnTo>
                  <a:pt x="365516" y="67220"/>
                </a:lnTo>
                <a:lnTo>
                  <a:pt x="332303" y="40522"/>
                </a:lnTo>
                <a:lnTo>
                  <a:pt x="290418" y="21158"/>
                </a:lnTo>
                <a:lnTo>
                  <a:pt x="240228" y="9365"/>
                </a:lnTo>
                <a:lnTo>
                  <a:pt x="182099" y="5382"/>
                </a:lnTo>
                <a:close/>
              </a:path>
              <a:path w="3576319" h="639445">
                <a:moveTo>
                  <a:pt x="422656" y="384668"/>
                </a:moveTo>
                <a:lnTo>
                  <a:pt x="204014" y="384668"/>
                </a:lnTo>
                <a:lnTo>
                  <a:pt x="236312" y="388878"/>
                </a:lnTo>
                <a:lnTo>
                  <a:pt x="257517" y="400439"/>
                </a:lnTo>
                <a:lnTo>
                  <a:pt x="269134" y="417750"/>
                </a:lnTo>
                <a:lnTo>
                  <a:pt x="272672" y="439211"/>
                </a:lnTo>
                <a:lnTo>
                  <a:pt x="267353" y="464874"/>
                </a:lnTo>
                <a:lnTo>
                  <a:pt x="250941" y="482414"/>
                </a:lnTo>
                <a:lnTo>
                  <a:pt x="222751" y="492470"/>
                </a:lnTo>
                <a:lnTo>
                  <a:pt x="182099" y="495681"/>
                </a:lnTo>
                <a:lnTo>
                  <a:pt x="425410" y="495681"/>
                </a:lnTo>
                <a:lnTo>
                  <a:pt x="429152" y="483901"/>
                </a:lnTo>
                <a:lnTo>
                  <a:pt x="433337" y="439211"/>
                </a:lnTo>
                <a:lnTo>
                  <a:pt x="427975" y="398171"/>
                </a:lnTo>
                <a:lnTo>
                  <a:pt x="422656" y="384668"/>
                </a:lnTo>
                <a:close/>
              </a:path>
              <a:path w="3576319" h="639445">
                <a:moveTo>
                  <a:pt x="404627" y="143168"/>
                </a:moveTo>
                <a:lnTo>
                  <a:pt x="179188" y="143168"/>
                </a:lnTo>
                <a:lnTo>
                  <a:pt x="211835" y="145693"/>
                </a:lnTo>
                <a:lnTo>
                  <a:pt x="233348" y="154241"/>
                </a:lnTo>
                <a:lnTo>
                  <a:pt x="245187" y="170273"/>
                </a:lnTo>
                <a:lnTo>
                  <a:pt x="248809" y="195250"/>
                </a:lnTo>
                <a:lnTo>
                  <a:pt x="244493" y="219348"/>
                </a:lnTo>
                <a:lnTo>
                  <a:pt x="232918" y="235316"/>
                </a:lnTo>
                <a:lnTo>
                  <a:pt x="216142" y="244158"/>
                </a:lnTo>
                <a:lnTo>
                  <a:pt x="196224" y="246882"/>
                </a:lnTo>
                <a:lnTo>
                  <a:pt x="395383" y="246882"/>
                </a:lnTo>
                <a:lnTo>
                  <a:pt x="405854" y="218496"/>
                </a:lnTo>
                <a:lnTo>
                  <a:pt x="409474" y="188936"/>
                </a:lnTo>
                <a:lnTo>
                  <a:pt x="404627" y="143168"/>
                </a:lnTo>
                <a:close/>
              </a:path>
            </a:pathLst>
          </a:custGeom>
          <a:solidFill>
            <a:srgbClr val="4140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bg object 22"/>
          <p:cNvSpPr/>
          <p:nvPr/>
        </p:nvSpPr>
        <p:spPr>
          <a:xfrm>
            <a:off x="11241699" y="6397654"/>
            <a:ext cx="90111" cy="179825"/>
          </a:xfrm>
          <a:custGeom>
            <a:avLst/>
            <a:gdLst/>
            <a:ahLst/>
            <a:cxnLst/>
            <a:rect l="l" t="t" r="r" b="b"/>
            <a:pathLst>
              <a:path w="148590" h="296545">
                <a:moveTo>
                  <a:pt x="148079" y="0"/>
                </a:moveTo>
                <a:lnTo>
                  <a:pt x="0" y="148079"/>
                </a:lnTo>
                <a:lnTo>
                  <a:pt x="148079" y="296158"/>
                </a:lnTo>
              </a:path>
            </a:pathLst>
          </a:custGeom>
          <a:ln w="10470">
            <a:solidFill>
              <a:srgbClr val="B3B3B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bg object 23"/>
          <p:cNvSpPr/>
          <p:nvPr/>
        </p:nvSpPr>
        <p:spPr>
          <a:xfrm>
            <a:off x="11151538" y="6397655"/>
            <a:ext cx="90111" cy="179825"/>
          </a:xfrm>
          <a:custGeom>
            <a:avLst/>
            <a:gdLst/>
            <a:ahLst/>
            <a:cxnLst/>
            <a:rect l="l" t="t" r="r" b="b"/>
            <a:pathLst>
              <a:path w="148590" h="296545">
                <a:moveTo>
                  <a:pt x="0" y="296158"/>
                </a:moveTo>
                <a:lnTo>
                  <a:pt x="148079" y="148079"/>
                </a:lnTo>
                <a:lnTo>
                  <a:pt x="0" y="0"/>
                </a:lnTo>
              </a:path>
            </a:pathLst>
          </a:custGeom>
          <a:ln w="10470">
            <a:solidFill>
              <a:srgbClr val="B3B3B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122" b="0" i="0">
                <a:solidFill>
                  <a:srgbClr val="A09FA0"/>
                </a:solidFill>
                <a:latin typeface="BloomSpeakTitle-Medium"/>
                <a:cs typeface="BloomSpeakTitle-Medium"/>
              </a:defRPr>
            </a:lvl1pPr>
          </a:lstStyle>
          <a:p>
            <a:pPr marL="7701">
              <a:lnSpc>
                <a:spcPts val="1310"/>
              </a:lnSpc>
            </a:pPr>
            <a:r>
              <a:rPr lang="nl-BE" spc="39">
                <a:solidFill>
                  <a:srgbClr val="FFFFFF"/>
                </a:solidFill>
              </a:rPr>
              <a:t>H</a:t>
            </a:r>
            <a:r>
              <a:rPr lang="nl-BE" spc="36">
                <a:solidFill>
                  <a:srgbClr val="FFFFFF"/>
                </a:solidFill>
              </a:rPr>
              <a:t>OM</a:t>
            </a:r>
            <a:r>
              <a:rPr lang="nl-BE" spc="9">
                <a:solidFill>
                  <a:srgbClr val="FFFFFF"/>
                </a:solidFill>
              </a:rPr>
              <a:t>E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1122" b="0" i="0">
                <a:solidFill>
                  <a:srgbClr val="B3B3B4"/>
                </a:solidFill>
                <a:latin typeface="BloomSpeakTitle-Medium"/>
                <a:cs typeface="BloomSpeakTitle-Medium"/>
              </a:defRPr>
            </a:lvl1pPr>
          </a:lstStyle>
          <a:p>
            <a:pPr marL="7701">
              <a:lnSpc>
                <a:spcPts val="1310"/>
              </a:lnSpc>
            </a:pPr>
            <a:r>
              <a:rPr lang="nl-BE" spc="115"/>
              <a:t>T</a:t>
            </a:r>
            <a:r>
              <a:rPr lang="nl-BE" spc="88"/>
              <a:t>E</a:t>
            </a:r>
            <a:r>
              <a:rPr lang="nl-BE" spc="106"/>
              <a:t>R</a:t>
            </a:r>
            <a:r>
              <a:rPr lang="nl-BE" spc="112"/>
              <a:t>U</a:t>
            </a:r>
            <a:r>
              <a:rPr lang="nl-BE" spc="12"/>
              <a:t>G</a:t>
            </a: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882748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5">
    <p:bg>
      <p:bgPr>
        <a:solidFill>
          <a:srgbClr val="00AEC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698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25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74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02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23810716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5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rgbClr val="00AEC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6464124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5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rgbClr val="00AEC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00AEC9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00AEC9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00AEC9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47387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5_SplitScreen">
    <p:bg>
      <p:bgPr>
        <a:solidFill>
          <a:srgbClr val="00AEC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70" y="244301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66" y="2615238"/>
            <a:ext cx="455569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00AEC9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05" y="3913294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86721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5_SplitScreen_Content">
    <p:bg>
      <p:bgPr>
        <a:solidFill>
          <a:srgbClr val="00AEC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41" y="2549006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00" y="1839921"/>
            <a:ext cx="3524249" cy="709083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57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914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70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82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08" y="3688109"/>
            <a:ext cx="4449233" cy="24278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570" indent="0" algn="ctr">
              <a:buFontTx/>
              <a:buNone/>
              <a:defRPr sz="2400" baseline="0">
                <a:latin typeface="Arial"/>
              </a:defRPr>
            </a:lvl2pPr>
            <a:lvl3pPr marL="1219140" indent="0" algn="ctr">
              <a:buFontTx/>
              <a:buNone/>
              <a:defRPr sz="2400" baseline="0">
                <a:latin typeface="Arial"/>
              </a:defRPr>
            </a:lvl3pPr>
            <a:lvl4pPr marL="1828709" indent="0" algn="ctr">
              <a:buFontTx/>
              <a:buNone/>
              <a:defRPr sz="2400" baseline="0">
                <a:latin typeface="Arial"/>
              </a:defRPr>
            </a:lvl4pPr>
            <a:lvl5pPr marL="24382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844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5_SplitScreen_Bullets">
    <p:bg>
      <p:bgPr>
        <a:solidFill>
          <a:srgbClr val="00AEC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26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66"/>
            <a:ext cx="1018801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25" y="2319619"/>
            <a:ext cx="4301825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480088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6">
    <p:bg>
      <p:bgPr>
        <a:solidFill>
          <a:srgbClr val="88CD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698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25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74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02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3735116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980436"/>
            <a:ext cx="10176000" cy="5397565"/>
          </a:xfrm>
          <a:prstGeom prst="rect">
            <a:avLst/>
          </a:prstGeom>
        </p:spPr>
        <p:txBody>
          <a:bodyPr vert="horz" wrap="square" lIns="91438" tIns="45719" rIns="91438" bIns="45719" anchor="ctr" anchorCtr="0">
            <a:noAutofit/>
          </a:bodyPr>
          <a:lstStyle>
            <a:lvl1pPr marL="0" indent="0" algn="ctr">
              <a:lnSpc>
                <a:spcPct val="80000"/>
              </a:lnSpc>
              <a:buNone/>
              <a:defRPr sz="2667" b="1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4844194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6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rgbClr val="88CD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15846081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6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rgbClr val="88CD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88CDD3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88CDD3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88CDD3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977886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6_SplitScreen">
    <p:bg>
      <p:bgPr>
        <a:solidFill>
          <a:srgbClr val="88CD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70" y="244301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66" y="2615238"/>
            <a:ext cx="455569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88CDD3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05" y="3913294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29660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6_SplitScreen_Content">
    <p:bg>
      <p:bgPr>
        <a:solidFill>
          <a:srgbClr val="88CD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41" y="2549006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00" y="1839921"/>
            <a:ext cx="3524249" cy="709083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57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914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70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82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08" y="3688109"/>
            <a:ext cx="4449233" cy="24278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570" indent="0" algn="ctr">
              <a:buFontTx/>
              <a:buNone/>
              <a:defRPr sz="2400" baseline="0">
                <a:latin typeface="Arial"/>
              </a:defRPr>
            </a:lvl2pPr>
            <a:lvl3pPr marL="1219140" indent="0" algn="ctr">
              <a:buFontTx/>
              <a:buNone/>
              <a:defRPr sz="2400" baseline="0">
                <a:latin typeface="Arial"/>
              </a:defRPr>
            </a:lvl3pPr>
            <a:lvl4pPr marL="1828709" indent="0" algn="ctr">
              <a:buFontTx/>
              <a:buNone/>
              <a:defRPr sz="2400" baseline="0">
                <a:latin typeface="Arial"/>
              </a:defRPr>
            </a:lvl4pPr>
            <a:lvl5pPr marL="24382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447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6_SplitScreen_Bullets">
    <p:bg>
      <p:bgPr>
        <a:solidFill>
          <a:srgbClr val="88CD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26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66"/>
            <a:ext cx="1018801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25" y="2319619"/>
            <a:ext cx="4301825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253644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7">
    <p:bg>
      <p:bgPr>
        <a:solidFill>
          <a:srgbClr val="249B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698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25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74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02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35969033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7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rgbClr val="249B9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18262456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7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rgbClr val="249B9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249B98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249B98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249B98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210642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7_SplitScreen">
    <p:bg>
      <p:bgPr>
        <a:solidFill>
          <a:srgbClr val="249B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70" y="244301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66" y="2615238"/>
            <a:ext cx="455569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249B98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05" y="3913294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2714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7_SplitScreen_Content">
    <p:bg>
      <p:bgPr>
        <a:solidFill>
          <a:srgbClr val="249B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41" y="2549006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00" y="1839921"/>
            <a:ext cx="3524249" cy="709083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57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914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70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82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08" y="3688109"/>
            <a:ext cx="4449233" cy="24278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570" indent="0" algn="ctr">
              <a:buFontTx/>
              <a:buNone/>
              <a:defRPr sz="2400" baseline="0">
                <a:latin typeface="Arial"/>
              </a:defRPr>
            </a:lvl2pPr>
            <a:lvl3pPr marL="1219140" indent="0" algn="ctr">
              <a:buFontTx/>
              <a:buNone/>
              <a:defRPr sz="2400" baseline="0">
                <a:latin typeface="Arial"/>
              </a:defRPr>
            </a:lvl3pPr>
            <a:lvl4pPr marL="1828709" indent="0" algn="ctr">
              <a:buFontTx/>
              <a:buNone/>
              <a:defRPr sz="2400" baseline="0">
                <a:latin typeface="Arial"/>
              </a:defRPr>
            </a:lvl4pPr>
            <a:lvl5pPr marL="24382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9840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980436"/>
            <a:ext cx="10176000" cy="5397565"/>
          </a:xfrm>
          <a:prstGeom prst="rect">
            <a:avLst/>
          </a:prstGeom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2133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3297831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7_SplitScreen_Bullets">
    <p:bg>
      <p:bgPr>
        <a:solidFill>
          <a:srgbClr val="249B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26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66"/>
            <a:ext cx="1018801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25" y="2319619"/>
            <a:ext cx="4301825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634317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FB_Chapter">
    <p:bg>
      <p:bgPr>
        <a:solidFill>
          <a:srgbClr val="212D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698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25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74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02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48500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FB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rgbClr val="212D5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10023187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FB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" y="2"/>
            <a:ext cx="960967" cy="960967"/>
          </a:xfrm>
          <a:prstGeom prst="rect">
            <a:avLst/>
          </a:prstGeom>
          <a:solidFill>
            <a:srgbClr val="212D5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56" y="172226"/>
            <a:ext cx="412288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212D55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212D55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212D55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510122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8_SplitScreen">
    <p:bg>
      <p:bgPr>
        <a:solidFill>
          <a:srgbClr val="212D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Rectangle 8"/>
          <p:cNvSpPr>
            <a:spLocks noChangeAspect="1"/>
          </p:cNvSpPr>
          <p:nvPr/>
        </p:nvSpPr>
        <p:spPr>
          <a:xfrm>
            <a:off x="2558670" y="2443014"/>
            <a:ext cx="960967" cy="960967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811366" y="2615238"/>
            <a:ext cx="455569" cy="584773"/>
          </a:xfrm>
          <a:prstGeom prst="rect">
            <a:avLst/>
          </a:prstGeom>
          <a:noFill/>
        </p:spPr>
        <p:txBody>
          <a:bodyPr vert="horz" wrap="none" lIns="91438" tIns="45719" rIns="91438" bIns="45719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212D55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95405" y="3913294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803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8_SplitScreen_Content">
    <p:bg>
      <p:bgPr>
        <a:solidFill>
          <a:srgbClr val="212D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090737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489441" y="2549006"/>
            <a:ext cx="3043767" cy="7006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b="1" i="0">
                <a:latin typeface="Arial"/>
              </a:defRPr>
            </a:lvl1pPr>
            <a:lvl2pPr marL="609570" indent="0" algn="ctr">
              <a:buFontTx/>
              <a:buNone/>
              <a:defRPr sz="3733" b="1" i="0">
                <a:latin typeface="Arial"/>
              </a:defRPr>
            </a:lvl2pPr>
            <a:lvl3pPr marL="1219140" indent="0" algn="ctr">
              <a:buFontTx/>
              <a:buNone/>
              <a:defRPr sz="3733" b="1" i="0">
                <a:latin typeface="Arial"/>
              </a:defRPr>
            </a:lvl3pPr>
            <a:lvl4pPr marL="1828709" indent="0" algn="ctr">
              <a:buFontTx/>
              <a:buNone/>
              <a:defRPr sz="3733" b="1" i="0">
                <a:latin typeface="Arial"/>
              </a:defRPr>
            </a:lvl4pPr>
            <a:lvl5pPr marL="2438278" indent="0" algn="ctr">
              <a:buFontTx/>
              <a:buNone/>
              <a:defRPr sz="3733" b="1" i="0">
                <a:latin typeface="Arial"/>
              </a:defRPr>
            </a:lvl5pPr>
          </a:lstStyle>
          <a:p>
            <a:pPr lvl="0"/>
            <a:r>
              <a:rPr lang="nl-BE"/>
              <a:t>Subtitle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249200" y="1839921"/>
            <a:ext cx="3524249" cy="709083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3733" cap="all" baseline="0">
                <a:solidFill>
                  <a:schemeClr val="bg1"/>
                </a:solidFill>
                <a:latin typeface="Arial Black"/>
              </a:defRPr>
            </a:lvl1pPr>
            <a:lvl2pPr marL="60957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2pPr>
            <a:lvl3pPr marL="1219140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3pPr>
            <a:lvl4pPr marL="1828709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4pPr>
            <a:lvl5pPr marL="2438278" indent="0" algn="ctr">
              <a:buFontTx/>
              <a:buNone/>
              <a:defRPr baseline="0">
                <a:solidFill>
                  <a:schemeClr val="bg1"/>
                </a:solidFill>
                <a:latin typeface="Arial Black"/>
              </a:defRPr>
            </a:lvl5pPr>
          </a:lstStyle>
          <a:p>
            <a:pPr lvl="0"/>
            <a:r>
              <a:rPr lang="nl-BE"/>
              <a:t>Title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86708" y="3688109"/>
            <a:ext cx="4449233" cy="2427817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 algn="ctr">
              <a:buFontTx/>
              <a:buNone/>
              <a:defRPr sz="2400" baseline="0">
                <a:latin typeface="Arial"/>
              </a:defRPr>
            </a:lvl1pPr>
            <a:lvl2pPr marL="609570" indent="0" algn="ctr">
              <a:buFontTx/>
              <a:buNone/>
              <a:defRPr sz="2400" baseline="0">
                <a:latin typeface="Arial"/>
              </a:defRPr>
            </a:lvl2pPr>
            <a:lvl3pPr marL="1219140" indent="0" algn="ctr">
              <a:buFontTx/>
              <a:buNone/>
              <a:defRPr sz="2400" baseline="0">
                <a:latin typeface="Arial"/>
              </a:defRPr>
            </a:lvl3pPr>
            <a:lvl4pPr marL="1828709" indent="0" algn="ctr">
              <a:buFontTx/>
              <a:buNone/>
              <a:defRPr sz="2400" baseline="0">
                <a:latin typeface="Arial"/>
              </a:defRPr>
            </a:lvl4pPr>
            <a:lvl5pPr marL="2438278" indent="0" algn="ctr">
              <a:buFontTx/>
              <a:buNone/>
              <a:defRPr sz="2400" baseline="0">
                <a:latin typeface="Arial"/>
              </a:defRPr>
            </a:lvl5pPr>
          </a:lstStyle>
          <a:p>
            <a:pPr lvl="0"/>
            <a:r>
              <a:rPr lang="nl-BE"/>
              <a:t>Click to edit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31594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8_SplitScreen_Bullets">
    <p:bg>
      <p:bgPr>
        <a:solidFill>
          <a:srgbClr val="212D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8426" y="0"/>
            <a:ext cx="6101265" cy="6858000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003523" y="1669666"/>
            <a:ext cx="1018801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Titl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03525" y="2319619"/>
            <a:ext cx="4301825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FFFFFF"/>
              </a:buClr>
              <a:buFont typeface="Wingdings" charset="2"/>
              <a:buChar char="§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FFFFFF"/>
              </a:buClr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FFFFFF"/>
              </a:buClr>
              <a:buFont typeface="Lucida Grande"/>
              <a:buChar char="&gt;"/>
              <a:defRPr sz="2133" b="0" i="0">
                <a:solidFill>
                  <a:srgbClr val="FFFFFF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8659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Picture_01"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698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25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74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02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37675796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Picture_02"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698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25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74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02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7167862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Picture_03"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698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25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74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02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7896484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980436"/>
            <a:ext cx="10176000" cy="5397565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FFC421"/>
              </a:buClr>
              <a:buFont typeface="Wingdings" charset="2"/>
              <a:buChar char="§"/>
              <a:defRPr sz="2133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FFC421"/>
              </a:buClr>
              <a:defRPr sz="2133">
                <a:solidFill>
                  <a:srgbClr val="000000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FFC421"/>
              </a:buClr>
              <a:buFont typeface="Lucida Grande"/>
              <a:buChar char="&gt;"/>
              <a:defRPr sz="2133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343808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Picture_04"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698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25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74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02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12736022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elden teks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368348" y="5057956"/>
            <a:ext cx="2098037" cy="1210995"/>
          </a:xfrm>
          <a:prstGeom prst="rect">
            <a:avLst/>
          </a:prstGeom>
          <a:solidFill>
            <a:srgbClr val="EAEAEA"/>
          </a:solidFill>
        </p:spPr>
        <p:txBody>
          <a:bodyPr vert="horz" wrap="square" lIns="91438" tIns="45719" rIns="91438" bIns="45719">
            <a:noAutofit/>
          </a:bodyPr>
          <a:lstStyle>
            <a:lvl1pPr marL="0" indent="0" algn="ctr">
              <a:lnSpc>
                <a:spcPct val="80000"/>
              </a:lnSpc>
              <a:buNone/>
              <a:defRPr sz="13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2695076" y="5057956"/>
            <a:ext cx="2098037" cy="1210995"/>
          </a:xfrm>
          <a:prstGeom prst="rect">
            <a:avLst/>
          </a:prstGeom>
          <a:solidFill>
            <a:srgbClr val="EAEAEA"/>
          </a:solidFill>
        </p:spPr>
        <p:txBody>
          <a:bodyPr vert="horz" wrap="square" lIns="91438" tIns="45719" rIns="91438" bIns="45719">
            <a:noAutofit/>
          </a:bodyPr>
          <a:lstStyle>
            <a:lvl1pPr marL="0" indent="0" algn="ctr">
              <a:lnSpc>
                <a:spcPct val="80000"/>
              </a:lnSpc>
              <a:buNone/>
              <a:defRPr sz="13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5057268" y="5057956"/>
            <a:ext cx="2098037" cy="1210995"/>
          </a:xfrm>
          <a:prstGeom prst="rect">
            <a:avLst/>
          </a:prstGeom>
          <a:solidFill>
            <a:srgbClr val="EAEAEA"/>
          </a:solidFill>
        </p:spPr>
        <p:txBody>
          <a:bodyPr vert="horz" wrap="square" lIns="91438" tIns="45719" rIns="91438" bIns="45719">
            <a:noAutofit/>
          </a:bodyPr>
          <a:lstStyle>
            <a:lvl1pPr marL="0" indent="0" algn="ctr">
              <a:lnSpc>
                <a:spcPct val="80000"/>
              </a:lnSpc>
              <a:buNone/>
              <a:defRPr sz="13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7367747" y="5057956"/>
            <a:ext cx="2098037" cy="1210995"/>
          </a:xfrm>
          <a:prstGeom prst="rect">
            <a:avLst/>
          </a:prstGeom>
          <a:solidFill>
            <a:srgbClr val="EAEAEA"/>
          </a:solidFill>
        </p:spPr>
        <p:txBody>
          <a:bodyPr vert="horz" wrap="square" lIns="91438" tIns="45719" rIns="91438" bIns="45719">
            <a:noAutofit/>
          </a:bodyPr>
          <a:lstStyle>
            <a:lvl1pPr marL="0" indent="0" algn="ctr">
              <a:lnSpc>
                <a:spcPct val="80000"/>
              </a:lnSpc>
              <a:buNone/>
              <a:defRPr sz="13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9663824" y="5057956"/>
            <a:ext cx="2098037" cy="1210995"/>
          </a:xfrm>
          <a:prstGeom prst="rect">
            <a:avLst/>
          </a:prstGeom>
          <a:solidFill>
            <a:srgbClr val="EAEAEA"/>
          </a:solidFill>
        </p:spPr>
        <p:txBody>
          <a:bodyPr vert="horz" wrap="square" lIns="91438" tIns="45719" rIns="91438" bIns="45719">
            <a:noAutofit/>
          </a:bodyPr>
          <a:lstStyle>
            <a:lvl1pPr marL="0" indent="0" algn="ctr">
              <a:lnSpc>
                <a:spcPct val="80000"/>
              </a:lnSpc>
              <a:buNone/>
              <a:defRPr sz="13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21"/>
          </p:nvPr>
        </p:nvSpPr>
        <p:spPr>
          <a:xfrm>
            <a:off x="368348" y="2899525"/>
            <a:ext cx="2098037" cy="2020535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22"/>
          </p:nvPr>
        </p:nvSpPr>
        <p:spPr>
          <a:xfrm>
            <a:off x="2695076" y="2899525"/>
            <a:ext cx="2098037" cy="2020535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23"/>
          </p:nvPr>
        </p:nvSpPr>
        <p:spPr>
          <a:xfrm>
            <a:off x="5057268" y="2899525"/>
            <a:ext cx="2098037" cy="2020535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24"/>
          </p:nvPr>
        </p:nvSpPr>
        <p:spPr>
          <a:xfrm>
            <a:off x="7367747" y="2882497"/>
            <a:ext cx="2098037" cy="2020535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4"/>
          <p:cNvSpPr>
            <a:spLocks noGrp="1"/>
          </p:cNvSpPr>
          <p:nvPr>
            <p:ph type="pic" sz="quarter" idx="25"/>
          </p:nvPr>
        </p:nvSpPr>
        <p:spPr>
          <a:xfrm>
            <a:off x="9663824" y="2882497"/>
            <a:ext cx="2098037" cy="2020535"/>
          </a:xfrm>
          <a:prstGeom prst="rect">
            <a:avLst/>
          </a:prstGeom>
        </p:spPr>
        <p:txBody>
          <a:bodyPr vert="horz" lIns="91438" tIns="45719" rIns="91438" bIns="45719"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196403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psomming teks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49" name="Picture Placeholder 4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236168" y="2796469"/>
            <a:ext cx="1536000" cy="1493109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772168" y="2796471"/>
            <a:ext cx="1328941" cy="1496863"/>
          </a:xfrm>
          <a:prstGeom prst="rect">
            <a:avLst/>
          </a:prstGeom>
          <a:noFill/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58" name="Text Placeholder 9"/>
          <p:cNvSpPr>
            <a:spLocks noGrp="1"/>
          </p:cNvSpPr>
          <p:nvPr>
            <p:ph type="body" sz="quarter" idx="41" hasCustomPrompt="1"/>
          </p:nvPr>
        </p:nvSpPr>
        <p:spPr>
          <a:xfrm>
            <a:off x="4714007" y="2796471"/>
            <a:ext cx="1328941" cy="1496863"/>
          </a:xfrm>
          <a:prstGeom prst="rect">
            <a:avLst/>
          </a:prstGeom>
          <a:noFill/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59" name="Text Placeholder 9"/>
          <p:cNvSpPr>
            <a:spLocks noGrp="1"/>
          </p:cNvSpPr>
          <p:nvPr>
            <p:ph type="body" sz="quarter" idx="43" hasCustomPrompt="1"/>
          </p:nvPr>
        </p:nvSpPr>
        <p:spPr>
          <a:xfrm>
            <a:off x="7656584" y="2796471"/>
            <a:ext cx="1328941" cy="1496863"/>
          </a:xfrm>
          <a:prstGeom prst="rect">
            <a:avLst/>
          </a:prstGeom>
          <a:noFill/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60" name="Text Placeholder 9"/>
          <p:cNvSpPr>
            <a:spLocks noGrp="1"/>
          </p:cNvSpPr>
          <p:nvPr>
            <p:ph type="body" sz="quarter" idx="45" hasCustomPrompt="1"/>
          </p:nvPr>
        </p:nvSpPr>
        <p:spPr>
          <a:xfrm>
            <a:off x="10601904" y="2796471"/>
            <a:ext cx="1328941" cy="1496863"/>
          </a:xfrm>
          <a:prstGeom prst="rect">
            <a:avLst/>
          </a:prstGeom>
          <a:noFill/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61" name="Picture Placeholder 4"/>
          <p:cNvSpPr>
            <a:spLocks noGrp="1" noChangeAspect="1"/>
          </p:cNvSpPr>
          <p:nvPr>
            <p:ph type="pic" sz="quarter" idx="46" hasCustomPrompt="1"/>
          </p:nvPr>
        </p:nvSpPr>
        <p:spPr>
          <a:xfrm>
            <a:off x="3178005" y="2796469"/>
            <a:ext cx="1536000" cy="1493109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62" name="Picture Placeholder 4"/>
          <p:cNvSpPr>
            <a:spLocks noGrp="1" noChangeAspect="1"/>
          </p:cNvSpPr>
          <p:nvPr>
            <p:ph type="pic" sz="quarter" idx="47" hasCustomPrompt="1"/>
          </p:nvPr>
        </p:nvSpPr>
        <p:spPr>
          <a:xfrm>
            <a:off x="6120584" y="2796469"/>
            <a:ext cx="1536000" cy="1493109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70" name="Picture Placeholder 4"/>
          <p:cNvSpPr>
            <a:spLocks noGrp="1" noChangeAspect="1"/>
          </p:cNvSpPr>
          <p:nvPr>
            <p:ph type="pic" sz="quarter" idx="48" hasCustomPrompt="1"/>
          </p:nvPr>
        </p:nvSpPr>
        <p:spPr>
          <a:xfrm>
            <a:off x="9065904" y="2796469"/>
            <a:ext cx="1536000" cy="1493109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71" name="Picture Placeholder 4"/>
          <p:cNvSpPr>
            <a:spLocks noGrp="1" noChangeAspect="1"/>
          </p:cNvSpPr>
          <p:nvPr>
            <p:ph type="pic" sz="quarter" idx="49" hasCustomPrompt="1"/>
          </p:nvPr>
        </p:nvSpPr>
        <p:spPr>
          <a:xfrm>
            <a:off x="236168" y="4671351"/>
            <a:ext cx="1536000" cy="1493109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72" name="Text Placeholder 9"/>
          <p:cNvSpPr>
            <a:spLocks noGrp="1"/>
          </p:cNvSpPr>
          <p:nvPr>
            <p:ph type="body" sz="quarter" idx="50" hasCustomPrompt="1"/>
          </p:nvPr>
        </p:nvSpPr>
        <p:spPr>
          <a:xfrm>
            <a:off x="1772168" y="4671351"/>
            <a:ext cx="1328941" cy="1496863"/>
          </a:xfrm>
          <a:prstGeom prst="rect">
            <a:avLst/>
          </a:prstGeom>
          <a:noFill/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73" name="Text Placeholder 9"/>
          <p:cNvSpPr>
            <a:spLocks noGrp="1"/>
          </p:cNvSpPr>
          <p:nvPr>
            <p:ph type="body" sz="quarter" idx="51" hasCustomPrompt="1"/>
          </p:nvPr>
        </p:nvSpPr>
        <p:spPr>
          <a:xfrm>
            <a:off x="4714007" y="4671351"/>
            <a:ext cx="1328941" cy="1496863"/>
          </a:xfrm>
          <a:prstGeom prst="rect">
            <a:avLst/>
          </a:prstGeom>
          <a:noFill/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74" name="Text Placeholder 9"/>
          <p:cNvSpPr>
            <a:spLocks noGrp="1"/>
          </p:cNvSpPr>
          <p:nvPr>
            <p:ph type="body" sz="quarter" idx="52" hasCustomPrompt="1"/>
          </p:nvPr>
        </p:nvSpPr>
        <p:spPr>
          <a:xfrm>
            <a:off x="7656584" y="4671351"/>
            <a:ext cx="1328941" cy="1496863"/>
          </a:xfrm>
          <a:prstGeom prst="rect">
            <a:avLst/>
          </a:prstGeom>
          <a:noFill/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53" hasCustomPrompt="1"/>
          </p:nvPr>
        </p:nvSpPr>
        <p:spPr>
          <a:xfrm>
            <a:off x="10601904" y="4671351"/>
            <a:ext cx="1328941" cy="1496863"/>
          </a:xfrm>
          <a:prstGeom prst="rect">
            <a:avLst/>
          </a:prstGeom>
          <a:noFill/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1067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sp>
        <p:nvSpPr>
          <p:cNvPr id="76" name="Picture Placeholder 4"/>
          <p:cNvSpPr>
            <a:spLocks noGrp="1" noChangeAspect="1"/>
          </p:cNvSpPr>
          <p:nvPr>
            <p:ph type="pic" sz="quarter" idx="54" hasCustomPrompt="1"/>
          </p:nvPr>
        </p:nvSpPr>
        <p:spPr>
          <a:xfrm>
            <a:off x="3178005" y="4671351"/>
            <a:ext cx="1536000" cy="1493109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77" name="Picture Placeholder 4"/>
          <p:cNvSpPr>
            <a:spLocks noGrp="1" noChangeAspect="1"/>
          </p:cNvSpPr>
          <p:nvPr>
            <p:ph type="pic" sz="quarter" idx="55" hasCustomPrompt="1"/>
          </p:nvPr>
        </p:nvSpPr>
        <p:spPr>
          <a:xfrm>
            <a:off x="6120584" y="4671351"/>
            <a:ext cx="1536000" cy="1493109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78" name="Picture Placeholder 4"/>
          <p:cNvSpPr>
            <a:spLocks noGrp="1" noChangeAspect="1"/>
          </p:cNvSpPr>
          <p:nvPr>
            <p:ph type="pic" sz="quarter" idx="56" hasCustomPrompt="1"/>
          </p:nvPr>
        </p:nvSpPr>
        <p:spPr>
          <a:xfrm>
            <a:off x="9065904" y="4671351"/>
            <a:ext cx="1536000" cy="1493109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0" indent="0">
              <a:buFontTx/>
              <a:buNone/>
              <a:defRPr sz="1067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BE"/>
              <a:t>insert picture</a:t>
            </a:r>
            <a:endParaRPr lang="en-US"/>
          </a:p>
        </p:txBody>
      </p:sp>
      <p:sp>
        <p:nvSpPr>
          <p:cNvPr id="79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236168" y="2796472"/>
            <a:ext cx="474133" cy="476249"/>
          </a:xfrm>
          <a:prstGeom prst="rect">
            <a:avLst/>
          </a:prstGeom>
          <a:solidFill>
            <a:srgbClr val="FFC421"/>
          </a:solidFill>
        </p:spPr>
        <p:txBody>
          <a:bodyPr vert="horz" lIns="91438" tIns="45719" rIns="91438" bIns="45719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914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70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82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  <p:sp>
        <p:nvSpPr>
          <p:cNvPr id="80" name="Text Placeholder 2"/>
          <p:cNvSpPr>
            <a:spLocks noGrp="1"/>
          </p:cNvSpPr>
          <p:nvPr>
            <p:ph type="body" sz="quarter" idx="33" hasCustomPrompt="1"/>
          </p:nvPr>
        </p:nvSpPr>
        <p:spPr>
          <a:xfrm>
            <a:off x="3178007" y="2796472"/>
            <a:ext cx="474133" cy="476249"/>
          </a:xfrm>
          <a:prstGeom prst="rect">
            <a:avLst/>
          </a:prstGeom>
          <a:solidFill>
            <a:srgbClr val="00AEC9"/>
          </a:solidFill>
        </p:spPr>
        <p:txBody>
          <a:bodyPr vert="horz" lIns="91438" tIns="45719" rIns="91438" bIns="45719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914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70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82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  <p:sp>
        <p:nvSpPr>
          <p:cNvPr id="81" name="Text Placeholder 2"/>
          <p:cNvSpPr>
            <a:spLocks noGrp="1"/>
          </p:cNvSpPr>
          <p:nvPr>
            <p:ph type="body" sz="quarter" idx="34" hasCustomPrompt="1"/>
          </p:nvPr>
        </p:nvSpPr>
        <p:spPr>
          <a:xfrm>
            <a:off x="9065904" y="2796472"/>
            <a:ext cx="474133" cy="476249"/>
          </a:xfrm>
          <a:prstGeom prst="rect">
            <a:avLst/>
          </a:prstGeom>
          <a:solidFill>
            <a:srgbClr val="EA5436"/>
          </a:solidFill>
        </p:spPr>
        <p:txBody>
          <a:bodyPr vert="horz" lIns="91438" tIns="45719" rIns="91438" bIns="45719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914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70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82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  <p:sp>
        <p:nvSpPr>
          <p:cNvPr id="82" name="Text Placeholder 2"/>
          <p:cNvSpPr>
            <a:spLocks noGrp="1"/>
          </p:cNvSpPr>
          <p:nvPr>
            <p:ph type="body" sz="quarter" idx="35" hasCustomPrompt="1"/>
          </p:nvPr>
        </p:nvSpPr>
        <p:spPr>
          <a:xfrm>
            <a:off x="6120584" y="2796472"/>
            <a:ext cx="474133" cy="476249"/>
          </a:xfrm>
          <a:prstGeom prst="rect">
            <a:avLst/>
          </a:prstGeom>
          <a:solidFill>
            <a:srgbClr val="249B98"/>
          </a:solidFill>
        </p:spPr>
        <p:txBody>
          <a:bodyPr vert="horz" lIns="91438" tIns="45719" rIns="91438" bIns="45719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914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70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82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  <p:sp>
        <p:nvSpPr>
          <p:cNvPr id="83" name="Text Placeholder 2"/>
          <p:cNvSpPr>
            <a:spLocks noGrp="1"/>
          </p:cNvSpPr>
          <p:nvPr>
            <p:ph type="body" sz="quarter" idx="36" hasCustomPrompt="1"/>
          </p:nvPr>
        </p:nvSpPr>
        <p:spPr>
          <a:xfrm>
            <a:off x="6120584" y="4670384"/>
            <a:ext cx="474133" cy="476249"/>
          </a:xfrm>
          <a:prstGeom prst="rect">
            <a:avLst/>
          </a:prstGeom>
          <a:solidFill>
            <a:srgbClr val="F4A9C5"/>
          </a:solidFill>
        </p:spPr>
        <p:txBody>
          <a:bodyPr vert="horz" lIns="91438" tIns="45719" rIns="91438" bIns="45719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914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70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82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  <p:sp>
        <p:nvSpPr>
          <p:cNvPr id="84" name="Text Placeholder 2"/>
          <p:cNvSpPr>
            <a:spLocks noGrp="1"/>
          </p:cNvSpPr>
          <p:nvPr>
            <p:ph type="body" sz="quarter" idx="37" hasCustomPrompt="1"/>
          </p:nvPr>
        </p:nvSpPr>
        <p:spPr>
          <a:xfrm>
            <a:off x="236168" y="4671352"/>
            <a:ext cx="474133" cy="476249"/>
          </a:xfrm>
          <a:prstGeom prst="rect">
            <a:avLst/>
          </a:prstGeom>
          <a:solidFill>
            <a:srgbClr val="E8327C"/>
          </a:solidFill>
        </p:spPr>
        <p:txBody>
          <a:bodyPr vert="horz" lIns="91438" tIns="45719" rIns="91438" bIns="45719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914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70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82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  <p:sp>
        <p:nvSpPr>
          <p:cNvPr id="85" name="Text Placeholder 2"/>
          <p:cNvSpPr>
            <a:spLocks noGrp="1"/>
          </p:cNvSpPr>
          <p:nvPr>
            <p:ph type="body" sz="quarter" idx="38" hasCustomPrompt="1"/>
          </p:nvPr>
        </p:nvSpPr>
        <p:spPr>
          <a:xfrm>
            <a:off x="9065904" y="4671352"/>
            <a:ext cx="474133" cy="476249"/>
          </a:xfrm>
          <a:prstGeom prst="rect">
            <a:avLst/>
          </a:prstGeom>
          <a:solidFill>
            <a:srgbClr val="FFED00"/>
          </a:solidFill>
        </p:spPr>
        <p:txBody>
          <a:bodyPr vert="horz" lIns="91438" tIns="45719" rIns="91438" bIns="45719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914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70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82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  <p:sp>
        <p:nvSpPr>
          <p:cNvPr id="86" name="Text Placeholder 2"/>
          <p:cNvSpPr>
            <a:spLocks noGrp="1"/>
          </p:cNvSpPr>
          <p:nvPr>
            <p:ph type="body" sz="quarter" idx="39" hasCustomPrompt="1"/>
          </p:nvPr>
        </p:nvSpPr>
        <p:spPr>
          <a:xfrm>
            <a:off x="3178007" y="4670868"/>
            <a:ext cx="474133" cy="476249"/>
          </a:xfrm>
          <a:prstGeom prst="rect">
            <a:avLst/>
          </a:prstGeom>
          <a:solidFill>
            <a:srgbClr val="88CDD3"/>
          </a:solidFill>
        </p:spPr>
        <p:txBody>
          <a:bodyPr vert="horz" lIns="91438" tIns="45719" rIns="91438" bIns="45719" anchor="ctr" anchorCtr="0"/>
          <a:lstStyle>
            <a:lvl1pPr marL="0" indent="0" algn="ctr">
              <a:buFontTx/>
              <a:buNone/>
              <a:defRPr sz="1867" b="0" i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2pPr>
            <a:lvl3pPr marL="1219140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3pPr>
            <a:lvl4pPr marL="1828709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4pPr>
            <a:lvl5pPr marL="2438278" indent="0">
              <a:buFontTx/>
              <a:buNone/>
              <a:defRPr sz="16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nl-BE"/>
              <a:t>#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91014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_You">
    <p:bg>
      <p:bgPr>
        <a:solidFill>
          <a:srgbClr val="FFC4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/>
          <p:cNvSpPr txBox="1">
            <a:spLocks/>
          </p:cNvSpPr>
          <p:nvPr/>
        </p:nvSpPr>
        <p:spPr bwMode="auto">
          <a:xfrm>
            <a:off x="971553" y="977902"/>
            <a:ext cx="3295649" cy="681567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25393" tIns="25393" rIns="25393" bIns="25393"/>
          <a:lstStyle>
            <a:lvl1pPr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defRPr sz="2400" b="0" baseline="0">
                <a:solidFill>
                  <a:schemeClr val="tx1"/>
                </a:solidFill>
                <a:latin typeface="+mj-lt"/>
                <a:ea typeface="+mj-ea"/>
                <a:cs typeface="Cooper Black Telenet Black"/>
                <a:sym typeface="Helvetica" charset="0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717171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5pPr>
            <a:lvl6pPr marL="171410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6pPr>
            <a:lvl7pPr marL="342817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7pPr>
            <a:lvl8pPr marL="514226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8pPr>
            <a:lvl9pPr marL="685635"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600" b="1">
                <a:solidFill>
                  <a:srgbClr val="505050"/>
                </a:solidFill>
                <a:latin typeface="Helvetica" charset="0"/>
                <a:ea typeface="ヒラギノ角ゴ ProN W6" charset="0"/>
                <a:cs typeface="ヒラギノ角ゴ ProN W6" charset="0"/>
                <a:sym typeface="Helvetica" charset="0"/>
              </a:defRPr>
            </a:lvl9pPr>
          </a:lstStyle>
          <a:p>
            <a:pPr>
              <a:defRPr/>
            </a:pPr>
            <a:r>
              <a:rPr lang="en-US" sz="3733">
                <a:solidFill>
                  <a:srgbClr val="FFFFFF"/>
                </a:solidFill>
                <a:latin typeface="Arial Black"/>
                <a:cs typeface="Arial Black"/>
              </a:rPr>
              <a:t>THANK YOU</a:t>
            </a:r>
          </a:p>
        </p:txBody>
      </p:sp>
      <p:pic>
        <p:nvPicPr>
          <p:cNvPr id="3" name="Picture 2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77756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22D30-C245-496B-9A61-5DFC24F30204}" type="datetimeFigureOut">
              <a:rPr lang="en-US" smtClean="0"/>
              <a:t>2/1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D0FB-27D0-48AD-836E-82F0382361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65254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plitscreen_Bullets_Picture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8286202" y="3035639"/>
            <a:ext cx="5293406" cy="5293406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289560"/>
            <a:ext cx="11090275" cy="53671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4" y="1058400"/>
            <a:ext cx="1109027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291899" y="2583849"/>
            <a:ext cx="1690301" cy="1690301"/>
          </a:xfrm>
          <a:prstGeom prst="ellipse">
            <a:avLst/>
          </a:prstGeom>
          <a:solidFill>
            <a:schemeClr val="accent1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ummy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F4B3FD9-A387-6947-BF63-6BFB9B618E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0860" y="1537199"/>
            <a:ext cx="554514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367167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_NoSubhead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731B2AB-1FB2-1F45-8BB3-6AC770979F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3221"/>
            <a:ext cx="11090275" cy="54305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00EAC61-D75C-484F-B27A-AC6214CEF4B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014887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19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5877AED-B432-954E-9526-F60C95863B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103972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19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5877AED-B432-954E-9526-F60C95863B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9571937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bchapter_Photo_Background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add pictur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522717" y="-1891391"/>
            <a:ext cx="6400800" cy="6481573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2717" y="1074420"/>
            <a:ext cx="4118421" cy="55197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625976" y="1900046"/>
            <a:ext cx="401516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r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8086562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Title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38" tIns="45719" rIns="91438" bIns="45719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pic>
        <p:nvPicPr>
          <p:cNvPr id="7" name="Picture 2" descr="C:\Users\bdelcroi\AppData\Local\Microsoft\Windows\Temporary Internet Files\Content.Outlook\1TTFMQJF\WEB-4150_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4019" y="6278759"/>
            <a:ext cx="839556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51183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aphicContent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550864" y="1537200"/>
            <a:ext cx="11090275" cy="47715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390086932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Only_GraphicContent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10">
            <a:extLst>
              <a:ext uri="{FF2B5EF4-FFF2-40B4-BE49-F238E27FC236}">
                <a16:creationId xmlns:a16="http://schemas.microsoft.com/office/drawing/2014/main" id="{5C00C965-9744-7D4A-AD4A-9696C4632E9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50864" y="549276"/>
            <a:ext cx="11090275" cy="5759450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  <a:lvl2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1538694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Autofit/>
          </a:bodyPr>
          <a:lstStyle>
            <a:lvl1pPr marL="0" indent="0">
              <a:buFont typeface="Arial"/>
              <a:buNone/>
              <a:defRPr/>
            </a:lvl1pPr>
            <a:lvl2pPr marL="0" indent="0">
              <a:buFont typeface="Arial"/>
              <a:buNone/>
              <a:defRPr/>
            </a:lvl2pPr>
            <a:lvl3pPr marL="0" indent="0">
              <a:buFont typeface="Arial"/>
              <a:buNone/>
              <a:defRPr/>
            </a:lvl3pPr>
            <a:lvl4pPr marL="0" indent="0">
              <a:buFont typeface="Arial"/>
              <a:buNone/>
              <a:defRPr/>
            </a:lvl4pPr>
            <a:lvl5pPr marL="0" indent="0">
              <a:buFont typeface="Arial"/>
              <a:buNone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581151" y="607485"/>
            <a:ext cx="9245601" cy="827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>
            <a:normAutofit/>
          </a:bodyPr>
          <a:lstStyle>
            <a:lvl1pPr>
              <a:defRPr sz="2667"/>
            </a:lvl1pPr>
          </a:lstStyle>
          <a:p>
            <a:pPr lvl="0"/>
            <a:r>
              <a:rPr lang="en-US">
                <a:sym typeface="Helvetica" charset="0"/>
              </a:rPr>
              <a:t>Title and Text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0826753" y="6362699"/>
            <a:ext cx="1365249" cy="495300"/>
          </a:xfrm>
          <a:prstGeom prst="rect">
            <a:avLst/>
          </a:prstGeom>
        </p:spPr>
        <p:txBody>
          <a:bodyPr vert="horz" lIns="0" tIns="0" rIns="0" bIns="107997" rtlCol="0" anchor="b" anchorCtr="1"/>
          <a:lstStyle>
            <a:lvl1pPr algn="ctr">
              <a:defRPr sz="933" b="0" i="0">
                <a:solidFill>
                  <a:srgbClr val="333333"/>
                </a:solidFill>
                <a:latin typeface="+mj-lt"/>
                <a:cs typeface="Arial"/>
              </a:defRPr>
            </a:lvl1pPr>
          </a:lstStyle>
          <a:p>
            <a:pPr defTabSz="1219140"/>
            <a:fld id="{98C7B2D8-764F-4D42-A1E7-57B9EC3CEB6D}" type="slidenum">
              <a:rPr lang="en-US" smtClean="0">
                <a:sym typeface="Gill Sans" charset="0"/>
              </a:rPr>
              <a:pPr defTabSz="1219140"/>
              <a:t>‹#›</a:t>
            </a:fld>
            <a:endParaRPr lang="en-US">
              <a:sym typeface="Gill Sans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581151" y="6362702"/>
            <a:ext cx="9245599" cy="495300"/>
          </a:xfrm>
        </p:spPr>
        <p:txBody>
          <a:bodyPr bIns="107997" anchor="b" anchorCtr="0">
            <a:noAutofit/>
          </a:bodyPr>
          <a:lstStyle>
            <a:lvl1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1pPr>
            <a:lvl2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2pPr>
            <a:lvl3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3pPr>
            <a:lvl4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4pPr>
            <a:lvl5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3442943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581151" y="607485"/>
            <a:ext cx="9245601" cy="827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>
            <a:normAutofit/>
          </a:bodyPr>
          <a:lstStyle>
            <a:lvl1pPr>
              <a:defRPr sz="2667"/>
            </a:lvl1pPr>
          </a:lstStyle>
          <a:p>
            <a:pPr lvl="0"/>
            <a:r>
              <a:rPr lang="en-US">
                <a:sym typeface="Helvetica" charset="0"/>
              </a:rPr>
              <a:t>Title and Bullet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1581152" y="1435200"/>
            <a:ext cx="9245600" cy="4757904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467"/>
            </a:lvl3pPr>
            <a:lvl4pPr>
              <a:defRPr sz="1200"/>
            </a:lvl4pPr>
            <a:lvl5pPr>
              <a:defRPr sz="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0826753" y="6362699"/>
            <a:ext cx="1365249" cy="495300"/>
          </a:xfrm>
          <a:prstGeom prst="rect">
            <a:avLst/>
          </a:prstGeom>
        </p:spPr>
        <p:txBody>
          <a:bodyPr vert="horz" lIns="0" tIns="0" rIns="0" bIns="107997" rtlCol="0" anchor="b" anchorCtr="1"/>
          <a:lstStyle>
            <a:lvl1pPr algn="ctr">
              <a:defRPr sz="933" b="0" i="0">
                <a:solidFill>
                  <a:srgbClr val="333333"/>
                </a:solidFill>
                <a:latin typeface="+mj-lt"/>
                <a:cs typeface="Arial"/>
              </a:defRPr>
            </a:lvl1pPr>
          </a:lstStyle>
          <a:p>
            <a:pPr defTabSz="1219140"/>
            <a:fld id="{98C7B2D8-764F-4D42-A1E7-57B9EC3CEB6D}" type="slidenum">
              <a:rPr lang="en-US" smtClean="0">
                <a:sym typeface="Gill Sans" charset="0"/>
              </a:rPr>
              <a:pPr defTabSz="1219140"/>
              <a:t>‹#›</a:t>
            </a:fld>
            <a:endParaRPr lang="en-US">
              <a:sym typeface="Gill Sans" charset="0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581151" y="6362702"/>
            <a:ext cx="9245599" cy="495300"/>
          </a:xfrm>
        </p:spPr>
        <p:txBody>
          <a:bodyPr bIns="107997" anchor="b" anchorCtr="0">
            <a:noAutofit/>
          </a:bodyPr>
          <a:lstStyle>
            <a:lvl1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1pPr>
            <a:lvl2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2pPr>
            <a:lvl3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3pPr>
            <a:lvl4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4pPr>
            <a:lvl5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7140922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581151" y="607485"/>
            <a:ext cx="9245601" cy="827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>
            <a:normAutofit/>
          </a:bodyPr>
          <a:lstStyle>
            <a:lvl1pPr>
              <a:defRPr sz="2667" baseline="0"/>
            </a:lvl1pPr>
          </a:lstStyle>
          <a:p>
            <a:pPr lvl="0"/>
            <a:r>
              <a:rPr lang="en-US">
                <a:sym typeface="Helvetica" charset="0"/>
              </a:rPr>
              <a:t>Title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0826753" y="6362699"/>
            <a:ext cx="1365249" cy="495300"/>
          </a:xfrm>
          <a:prstGeom prst="rect">
            <a:avLst/>
          </a:prstGeom>
        </p:spPr>
        <p:txBody>
          <a:bodyPr vert="horz" lIns="0" tIns="0" rIns="0" bIns="107997" rtlCol="0" anchor="b" anchorCtr="1"/>
          <a:lstStyle>
            <a:lvl1pPr algn="ctr">
              <a:defRPr sz="933" b="0" i="0">
                <a:solidFill>
                  <a:srgbClr val="333333"/>
                </a:solidFill>
                <a:latin typeface="+mj-lt"/>
                <a:cs typeface="Arial"/>
              </a:defRPr>
            </a:lvl1pPr>
          </a:lstStyle>
          <a:p>
            <a:pPr defTabSz="1219140"/>
            <a:fld id="{98C7B2D8-764F-4D42-A1E7-57B9EC3CEB6D}" type="slidenum">
              <a:rPr lang="en-US" smtClean="0">
                <a:sym typeface="Gill Sans" charset="0"/>
              </a:rPr>
              <a:pPr defTabSz="1219140"/>
              <a:t>‹#›</a:t>
            </a:fld>
            <a:endParaRPr lang="en-US">
              <a:sym typeface="Gill Sans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581151" y="6362702"/>
            <a:ext cx="9245599" cy="495300"/>
          </a:xfrm>
        </p:spPr>
        <p:txBody>
          <a:bodyPr bIns="107997" anchor="b" anchorCtr="0">
            <a:noAutofit/>
          </a:bodyPr>
          <a:lstStyle>
            <a:lvl1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1pPr>
            <a:lvl2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2pPr>
            <a:lvl3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3pPr>
            <a:lvl4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4pPr>
            <a:lvl5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5682221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:\Users\bdelcroi\AppData\Local\Microsoft\Windows\Temporary Internet Files\Content.Outlook\1TTFMQJF\WEB-4150_log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4019" y="6278759"/>
            <a:ext cx="839556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3658221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itle and Subtitle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581152" y="977896"/>
            <a:ext cx="9245599" cy="3100800"/>
          </a:xfrm>
        </p:spPr>
        <p:txBody>
          <a:bodyPr bIns="0" anchor="b" anchorCtr="0">
            <a:normAutofit/>
          </a:bodyPr>
          <a:lstStyle>
            <a:lvl1pPr algn="l">
              <a:defRPr sz="4800"/>
            </a:lvl1pPr>
          </a:lstStyle>
          <a:p>
            <a:r>
              <a:rPr lang="en-US" err="1"/>
              <a:t>Telenet</a:t>
            </a:r>
            <a:r>
              <a:rPr lang="en-US"/>
              <a:t> Title Framed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1581152" y="4140201"/>
            <a:ext cx="9245600" cy="222249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 b="1" i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11784774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22D30-C245-496B-9A61-5DFC24F30204}" type="datetimeFigureOut">
              <a:rPr lang="en-US" smtClean="0"/>
              <a:t>2/1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67D0FB-27D0-48AD-836E-82F0382361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416416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plitscreen_Bullets_Picture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8286202" y="3035639"/>
            <a:ext cx="5293406" cy="5293406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289560"/>
            <a:ext cx="11090275" cy="53671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50864" y="1058400"/>
            <a:ext cx="11090273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291899" y="2583849"/>
            <a:ext cx="1690301" cy="1690301"/>
          </a:xfrm>
          <a:prstGeom prst="ellipse">
            <a:avLst/>
          </a:prstGeom>
          <a:solidFill>
            <a:schemeClr val="accent1"/>
          </a:solidFill>
        </p:spPr>
        <p:txBody>
          <a:bodyPr tIns="90000" bIns="90000" anchor="ctr"/>
          <a:lstStyle>
            <a:lvl1pPr marL="0" indent="0" algn="ctr">
              <a:buFontTx/>
              <a:buNone/>
              <a:defRPr sz="20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ummy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F4B3FD9-A387-6947-BF63-6BFB9B618E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0860" y="1537199"/>
            <a:ext cx="5545140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6587278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_NoSubhead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6731B2AB-1FB2-1F45-8BB3-6AC770979F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83221"/>
            <a:ext cx="11090275" cy="543054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00EAC61-D75C-484F-B27A-AC6214CEF4B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84178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Title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57"/>
            <a:ext cx="3297694" cy="666784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82"/>
            <a:ext cx="3297694" cy="66678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48"/>
            <a:ext cx="2369555" cy="584773"/>
          </a:xfrm>
          <a:prstGeom prst="rect">
            <a:avLst/>
          </a:prstGeom>
        </p:spPr>
        <p:txBody>
          <a:bodyPr vert="horz" wrap="none" lIns="91438" tIns="45719" rIns="91438" bIns="45719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57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914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70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82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38" tIns="45719" rIns="91438" bIns="45719"/>
          <a:lstStyle>
            <a:lvl1pPr marL="191990" indent="-191990">
              <a:lnSpc>
                <a:spcPct val="80000"/>
              </a:lnSpc>
              <a:buClr>
                <a:srgbClr val="FFC421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979" indent="-239989">
              <a:lnSpc>
                <a:spcPct val="80000"/>
              </a:lnSpc>
              <a:buClr>
                <a:srgbClr val="FFC421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966" indent="-239989">
              <a:lnSpc>
                <a:spcPct val="80000"/>
              </a:lnSpc>
              <a:buClr>
                <a:srgbClr val="FFC421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  <p:pic>
        <p:nvPicPr>
          <p:cNvPr id="39938" name="Picture 2" descr="C:\Users\bdelcroi\AppData\Local\Microsoft\Windows\Temporary Internet Files\Content.Outlook\1TTFMQJF\WEB-4150_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4019" y="6278759"/>
            <a:ext cx="839556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24260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19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5877AED-B432-954E-9526-F60C95863B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183663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_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19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0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5877AED-B432-954E-9526-F60C95863B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2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chemeClr val="tx2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579172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bchapter_Photo_Background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on the icon to add pictur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522717" y="-1891391"/>
            <a:ext cx="6400800" cy="6481573"/>
          </a:xfrm>
          <a:prstGeom prst="ellipse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40EAE7-2006-FD41-87A6-F6B6041694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522717" y="1074420"/>
            <a:ext cx="4118421" cy="55197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625976" y="1900046"/>
            <a:ext cx="401516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r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96269810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aphicContent_01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4" y="1058400"/>
            <a:ext cx="11090275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4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550864" y="1537200"/>
            <a:ext cx="11090275" cy="47715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Click on an icon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260039069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Only_GraphicContent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10">
            <a:extLst>
              <a:ext uri="{FF2B5EF4-FFF2-40B4-BE49-F238E27FC236}">
                <a16:creationId xmlns:a16="http://schemas.microsoft.com/office/drawing/2014/main" id="{5C00C965-9744-7D4A-AD4A-9696C4632E9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50864" y="549276"/>
            <a:ext cx="11090275" cy="5759450"/>
          </a:xfrm>
          <a:prstGeom prst="rect">
            <a:avLst/>
          </a:prstGeom>
        </p:spPr>
        <p:txBody>
          <a:bodyPr lIns="0" tIns="108000" rIns="108000" bIns="108000"/>
          <a:lstStyle>
            <a:lvl1pPr marL="171450" indent="-171450"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  <a:lvl2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2pPr>
            <a:lvl3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3pPr>
            <a:lvl4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4pPr>
            <a:lvl5pPr>
              <a:spcBef>
                <a:spcPts val="500"/>
              </a:spcBef>
              <a:buClr>
                <a:schemeClr val="accent1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9738393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Autofit/>
          </a:bodyPr>
          <a:lstStyle>
            <a:lvl1pPr marL="0" indent="0">
              <a:buFont typeface="Arial"/>
              <a:buNone/>
              <a:defRPr/>
            </a:lvl1pPr>
            <a:lvl2pPr marL="0" indent="0">
              <a:buFont typeface="Arial"/>
              <a:buNone/>
              <a:defRPr/>
            </a:lvl2pPr>
            <a:lvl3pPr marL="0" indent="0">
              <a:buFont typeface="Arial"/>
              <a:buNone/>
              <a:defRPr/>
            </a:lvl3pPr>
            <a:lvl4pPr marL="0" indent="0">
              <a:buFont typeface="Arial"/>
              <a:buNone/>
              <a:defRPr/>
            </a:lvl4pPr>
            <a:lvl5pPr marL="0" indent="0">
              <a:buFont typeface="Arial"/>
              <a:buNone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581151" y="607485"/>
            <a:ext cx="9245601" cy="827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>
            <a:normAutofit/>
          </a:bodyPr>
          <a:lstStyle>
            <a:lvl1pPr>
              <a:defRPr sz="2667"/>
            </a:lvl1pPr>
          </a:lstStyle>
          <a:p>
            <a:pPr lvl="0"/>
            <a:r>
              <a:rPr lang="en-US">
                <a:sym typeface="Helvetica" charset="0"/>
              </a:rPr>
              <a:t>Title and Text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0826753" y="6362699"/>
            <a:ext cx="1365249" cy="495300"/>
          </a:xfrm>
          <a:prstGeom prst="rect">
            <a:avLst/>
          </a:prstGeom>
        </p:spPr>
        <p:txBody>
          <a:bodyPr vert="horz" lIns="0" tIns="0" rIns="0" bIns="107997" rtlCol="0" anchor="b" anchorCtr="1"/>
          <a:lstStyle>
            <a:lvl1pPr algn="ctr">
              <a:defRPr sz="933" b="0" i="0">
                <a:solidFill>
                  <a:srgbClr val="333333"/>
                </a:solidFill>
                <a:latin typeface="+mj-lt"/>
                <a:cs typeface="Arial"/>
              </a:defRPr>
            </a:lvl1pPr>
          </a:lstStyle>
          <a:p>
            <a:pPr defTabSz="1219140"/>
            <a:fld id="{98C7B2D8-764F-4D42-A1E7-57B9EC3CEB6D}" type="slidenum">
              <a:rPr lang="en-US" smtClean="0">
                <a:sym typeface="Gill Sans" charset="0"/>
              </a:rPr>
              <a:pPr defTabSz="1219140"/>
              <a:t>‹#›</a:t>
            </a:fld>
            <a:endParaRPr lang="en-US">
              <a:sym typeface="Gill Sans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581151" y="6362702"/>
            <a:ext cx="9245599" cy="495300"/>
          </a:xfrm>
        </p:spPr>
        <p:txBody>
          <a:bodyPr bIns="107997" anchor="b" anchorCtr="0">
            <a:noAutofit/>
          </a:bodyPr>
          <a:lstStyle>
            <a:lvl1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1pPr>
            <a:lvl2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2pPr>
            <a:lvl3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3pPr>
            <a:lvl4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4pPr>
            <a:lvl5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60926693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581151" y="607485"/>
            <a:ext cx="9245601" cy="827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>
            <a:normAutofit/>
          </a:bodyPr>
          <a:lstStyle>
            <a:lvl1pPr>
              <a:defRPr sz="2667"/>
            </a:lvl1pPr>
          </a:lstStyle>
          <a:p>
            <a:pPr lvl="0"/>
            <a:r>
              <a:rPr lang="en-US">
                <a:sym typeface="Helvetica" charset="0"/>
              </a:rPr>
              <a:t>Title and Bullet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1581152" y="1435200"/>
            <a:ext cx="9245600" cy="4757904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467"/>
            </a:lvl3pPr>
            <a:lvl4pPr>
              <a:defRPr sz="1200"/>
            </a:lvl4pPr>
            <a:lvl5pPr>
              <a:defRPr sz="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0826753" y="6362699"/>
            <a:ext cx="1365249" cy="495300"/>
          </a:xfrm>
          <a:prstGeom prst="rect">
            <a:avLst/>
          </a:prstGeom>
        </p:spPr>
        <p:txBody>
          <a:bodyPr vert="horz" lIns="0" tIns="0" rIns="0" bIns="107997" rtlCol="0" anchor="b" anchorCtr="1"/>
          <a:lstStyle>
            <a:lvl1pPr algn="ctr">
              <a:defRPr sz="933" b="0" i="0">
                <a:solidFill>
                  <a:srgbClr val="333333"/>
                </a:solidFill>
                <a:latin typeface="+mj-lt"/>
                <a:cs typeface="Arial"/>
              </a:defRPr>
            </a:lvl1pPr>
          </a:lstStyle>
          <a:p>
            <a:pPr defTabSz="1219140"/>
            <a:fld id="{98C7B2D8-764F-4D42-A1E7-57B9EC3CEB6D}" type="slidenum">
              <a:rPr lang="en-US" smtClean="0">
                <a:sym typeface="Gill Sans" charset="0"/>
              </a:rPr>
              <a:pPr defTabSz="1219140"/>
              <a:t>‹#›</a:t>
            </a:fld>
            <a:endParaRPr lang="en-US">
              <a:sym typeface="Gill Sans" charset="0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581151" y="6362702"/>
            <a:ext cx="9245599" cy="495300"/>
          </a:xfrm>
        </p:spPr>
        <p:txBody>
          <a:bodyPr bIns="107997" anchor="b" anchorCtr="0">
            <a:noAutofit/>
          </a:bodyPr>
          <a:lstStyle>
            <a:lvl1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1pPr>
            <a:lvl2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2pPr>
            <a:lvl3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3pPr>
            <a:lvl4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4pPr>
            <a:lvl5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1846894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1581151" y="607485"/>
            <a:ext cx="9245601" cy="827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>
            <a:normAutofit/>
          </a:bodyPr>
          <a:lstStyle>
            <a:lvl1pPr>
              <a:defRPr sz="2667" baseline="0"/>
            </a:lvl1pPr>
          </a:lstStyle>
          <a:p>
            <a:pPr lvl="0"/>
            <a:r>
              <a:rPr lang="en-US">
                <a:sym typeface="Helvetica" charset="0"/>
              </a:rPr>
              <a:t>Title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0826753" y="6362699"/>
            <a:ext cx="1365249" cy="495300"/>
          </a:xfrm>
          <a:prstGeom prst="rect">
            <a:avLst/>
          </a:prstGeom>
        </p:spPr>
        <p:txBody>
          <a:bodyPr vert="horz" lIns="0" tIns="0" rIns="0" bIns="107997" rtlCol="0" anchor="b" anchorCtr="1"/>
          <a:lstStyle>
            <a:lvl1pPr algn="ctr">
              <a:defRPr sz="933" b="0" i="0">
                <a:solidFill>
                  <a:srgbClr val="333333"/>
                </a:solidFill>
                <a:latin typeface="+mj-lt"/>
                <a:cs typeface="Arial"/>
              </a:defRPr>
            </a:lvl1pPr>
          </a:lstStyle>
          <a:p>
            <a:pPr defTabSz="1219140"/>
            <a:fld id="{98C7B2D8-764F-4D42-A1E7-57B9EC3CEB6D}" type="slidenum">
              <a:rPr lang="en-US" smtClean="0">
                <a:sym typeface="Gill Sans" charset="0"/>
              </a:rPr>
              <a:pPr defTabSz="1219140"/>
              <a:t>‹#›</a:t>
            </a:fld>
            <a:endParaRPr lang="en-US">
              <a:sym typeface="Gill Sans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581151" y="6362702"/>
            <a:ext cx="9245599" cy="495300"/>
          </a:xfrm>
        </p:spPr>
        <p:txBody>
          <a:bodyPr bIns="107997" anchor="b" anchorCtr="0">
            <a:noAutofit/>
          </a:bodyPr>
          <a:lstStyle>
            <a:lvl1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1pPr>
            <a:lvl2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2pPr>
            <a:lvl3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3pPr>
            <a:lvl4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4pPr>
            <a:lvl5pPr marL="0" indent="0">
              <a:buFontTx/>
              <a:buNone/>
              <a:defRPr sz="933">
                <a:solidFill>
                  <a:srgbClr val="333333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8948392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:\Users\bdelcroi\AppData\Local\Microsoft\Windows\Temporary Internet Files\Content.Outlook\1TTFMQJF\WEB-4150_log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4019" y="6278759"/>
            <a:ext cx="839556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197740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itle and Subtitle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581152" y="977896"/>
            <a:ext cx="9245599" cy="3100800"/>
          </a:xfrm>
        </p:spPr>
        <p:txBody>
          <a:bodyPr bIns="0" anchor="b" anchorCtr="0">
            <a:normAutofit/>
          </a:bodyPr>
          <a:lstStyle>
            <a:lvl1pPr algn="l">
              <a:defRPr sz="4800"/>
            </a:lvl1pPr>
          </a:lstStyle>
          <a:p>
            <a:r>
              <a:rPr lang="en-US" err="1"/>
              <a:t>Telenet</a:t>
            </a:r>
            <a:r>
              <a:rPr lang="en-US"/>
              <a:t> Title Framed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1581152" y="4140201"/>
            <a:ext cx="9245600" cy="222249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 b="1" i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11630726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1">
    <p:bg>
      <p:bgPr>
        <a:solidFill>
          <a:srgbClr val="FFE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698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25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74"/>
            <a:ext cx="3297694" cy="66678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02"/>
            <a:ext cx="3297694" cy="66678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38" tIns="45719" rIns="91438" bIns="45719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570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23853781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">
    <p:bg>
      <p:bgPr>
        <a:solidFill>
          <a:srgbClr val="FFC4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283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0128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ntro">
    <p:bg>
      <p:bgPr>
        <a:blipFill dpi="0" rotWithShape="1">
          <a:blip r:embed="rId3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Telenet_Smiley_neg_RGB copy.pd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283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38409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ou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/>
          <p:cNvSpPr txBox="1">
            <a:spLocks/>
          </p:cNvSpPr>
          <p:nvPr/>
        </p:nvSpPr>
        <p:spPr>
          <a:xfrm>
            <a:off x="1056229" y="979456"/>
            <a:ext cx="2400570" cy="697521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wrap="none" lIns="121877" tIns="60939" rIns="121877" bIns="60939" anchor="ctr">
            <a:sp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2800" b="1" i="0" kern="1200" cap="all" baseline="0">
                <a:ln>
                  <a:noFill/>
                </a:ln>
                <a:solidFill>
                  <a:srgbClr val="000000"/>
                </a:solidFill>
                <a:latin typeface="Omnes Bold Roman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sz="3733">
                <a:latin typeface="Arial Black"/>
                <a:cs typeface="Arial Black"/>
              </a:rPr>
              <a:t>inhou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1910272"/>
            <a:ext cx="10176000" cy="4467728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110000"/>
              </a:lnSpc>
              <a:buClr>
                <a:schemeClr val="accent1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110000"/>
              </a:lnSpc>
              <a:buClr>
                <a:schemeClr val="accent1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110000"/>
              </a:lnSpc>
              <a:buClr>
                <a:schemeClr val="accent1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table of contents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455276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980436"/>
            <a:ext cx="10176000" cy="5397565"/>
          </a:xfrm>
          <a:prstGeom prst="rect">
            <a:avLst/>
          </a:prstGeom>
        </p:spPr>
        <p:txBody>
          <a:bodyPr vert="horz" wrap="square" lIns="91408" tIns="45704" rIns="91408" bIns="45704" anchor="ctr" anchorCtr="0">
            <a:noAutofit/>
          </a:bodyPr>
          <a:lstStyle>
            <a:lvl1pPr marL="0" indent="0" algn="ctr">
              <a:lnSpc>
                <a:spcPct val="80000"/>
              </a:lnSpc>
              <a:buNone/>
              <a:defRPr sz="2667" b="1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4277586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980436"/>
            <a:ext cx="10176000" cy="5397565"/>
          </a:xfrm>
          <a:prstGeom prst="rect">
            <a:avLst/>
          </a:prstGeom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2133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8947329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980436"/>
            <a:ext cx="10176000" cy="5397565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FFC421"/>
              </a:buClr>
              <a:buFont typeface="Wingdings" charset="2"/>
              <a:buChar char="§"/>
              <a:defRPr sz="2133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FFC421"/>
              </a:buClr>
              <a:defRPr sz="2133">
                <a:solidFill>
                  <a:srgbClr val="000000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FFC421"/>
              </a:buClr>
              <a:buFont typeface="Lucida Grande"/>
              <a:buChar char="&gt;"/>
              <a:defRPr sz="2133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854808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Title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  <p:pic>
        <p:nvPicPr>
          <p:cNvPr id="7" name="Picture 2" descr="C:\Users\bdelcroi\AppData\Local\Microsoft\Windows\Temporary Internet Files\Content.Outlook\1TTFMQJF\WEB-4150_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4019" y="6278759"/>
            <a:ext cx="839556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26797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Title_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chemeClr val="tx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lIns="91408" tIns="45704" rIns="91408" bIns="45704"/>
          <a:lstStyle>
            <a:lvl1pPr marL="191930" indent="-191930">
              <a:lnSpc>
                <a:spcPct val="80000"/>
              </a:lnSpc>
              <a:buClr>
                <a:srgbClr val="FFC421"/>
              </a:buClr>
              <a:buFont typeface="Wingdings" charset="2"/>
              <a:buChar char="§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31819" indent="-239899">
              <a:lnSpc>
                <a:spcPct val="80000"/>
              </a:lnSpc>
              <a:buClr>
                <a:srgbClr val="FFC421"/>
              </a:buClr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2pPr>
            <a:lvl3pPr marL="671726" indent="-239899">
              <a:lnSpc>
                <a:spcPct val="80000"/>
              </a:lnSpc>
              <a:buClr>
                <a:srgbClr val="FFC421"/>
              </a:buClr>
              <a:buFont typeface="Lucida Grande"/>
              <a:buChar char="&gt;"/>
              <a:defRPr sz="2133" b="0" i="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4pPr>
            <a:lvl5pPr>
              <a:buClr>
                <a:srgbClr val="FFED00"/>
              </a:buClr>
              <a:defRPr sz="2133">
                <a:solidFill>
                  <a:srgbClr val="000000"/>
                </a:solidFill>
                <a:latin typeface="Omnes Regular Roman"/>
              </a:defRPr>
            </a:lvl5pPr>
          </a:lstStyle>
          <a:p>
            <a:pPr lvl="0"/>
            <a:r>
              <a:rPr lang="nl-BE"/>
              <a:t>Click to edit bullet list</a:t>
            </a:r>
          </a:p>
          <a:p>
            <a:pPr lvl="1"/>
            <a:r>
              <a:rPr lang="nl-BE"/>
              <a:t>Second level</a:t>
            </a:r>
          </a:p>
          <a:p>
            <a:pPr lvl="2"/>
            <a:r>
              <a:rPr lang="nl-BE"/>
              <a:t>Third level</a:t>
            </a:r>
          </a:p>
        </p:txBody>
      </p:sp>
      <p:pic>
        <p:nvPicPr>
          <p:cNvPr id="39938" name="Picture 2" descr="C:\Users\bdelcroi\AppData\Local\Microsoft\Windows\Temporary Internet Files\Content.Outlook\1TTFMQJF\WEB-4150_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4019" y="6278759"/>
            <a:ext cx="839556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70480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1">
    <p:bg>
      <p:bgPr>
        <a:solidFill>
          <a:srgbClr val="FFE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Telenet_Smiley_neg_RGB copy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9667" y="5545667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2061714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2759342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056000" y="3444990"/>
            <a:ext cx="3297633" cy="666753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bg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4142618"/>
            <a:ext cx="3297633" cy="666753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chemeClr val="tx1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</p:spTree>
    <p:extLst>
      <p:ext uri="{BB962C8B-B14F-4D97-AF65-F5344CB8AC3E}">
        <p14:creationId xmlns:p14="http://schemas.microsoft.com/office/powerpoint/2010/main" val="805337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_01_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2" y="22"/>
            <a:ext cx="960967" cy="960967"/>
          </a:xfrm>
          <a:prstGeom prst="rect">
            <a:avLst/>
          </a:prstGeom>
          <a:solidFill>
            <a:srgbClr val="FFED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7" tIns="60939" rIns="121877" bIns="60939" anchor="ctr"/>
          <a:lstStyle/>
          <a:p>
            <a:pPr algn="ctr" defTabSz="609331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3888" y="172228"/>
            <a:ext cx="412228" cy="584743"/>
          </a:xfrm>
          <a:prstGeom prst="rect">
            <a:avLst/>
          </a:prstGeom>
          <a:noFill/>
        </p:spPr>
        <p:txBody>
          <a:bodyPr vert="horz" wrap="none" lIns="91408" tIns="45704" rIns="91408" bIns="45704" anchor="t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3200" b="1" i="0" cap="all" baseline="0">
                <a:ln>
                  <a:noFill/>
                </a:ln>
                <a:solidFill>
                  <a:srgbClr val="FFFFFF"/>
                </a:solidFill>
                <a:latin typeface="Omnes Bold Roman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#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056000" y="995874"/>
            <a:ext cx="3297633" cy="666753"/>
          </a:xfrm>
          <a:prstGeom prst="rect">
            <a:avLst/>
          </a:prstGeom>
          <a:solidFill>
            <a:srgbClr val="FFFFFF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ln>
                  <a:noFill/>
                </a:ln>
                <a:solidFill>
                  <a:srgbClr val="000000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6000" y="1693498"/>
            <a:ext cx="3297633" cy="666753"/>
          </a:xfrm>
          <a:prstGeom prst="rect">
            <a:avLst/>
          </a:prstGeom>
          <a:solidFill>
            <a:srgbClr val="000000"/>
          </a:solidFill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none" lIns="91408" tIns="45704" rIns="91408" bIns="45704" anchor="ctr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3733" b="1" i="0" cap="all" baseline="0">
                <a:solidFill>
                  <a:srgbClr val="FFFFFF"/>
                </a:solidFill>
                <a:latin typeface="Arial Black"/>
                <a:cs typeface="Arial Black"/>
              </a:defRPr>
            </a:lvl1pPr>
            <a:lvl2pPr marL="609331" indent="0">
              <a:buNone/>
              <a:defRPr/>
            </a:lvl2pPr>
            <a:lvl3pPr marL="1218690" indent="0">
              <a:buNone/>
              <a:defRPr/>
            </a:lvl3pPr>
            <a:lvl4pPr marL="1828029" indent="0">
              <a:buNone/>
              <a:defRPr/>
            </a:lvl4pPr>
            <a:lvl5pPr marL="2437378" indent="0">
              <a:buNone/>
              <a:defRPr/>
            </a:lvl5pPr>
          </a:lstStyle>
          <a:p>
            <a:pPr lvl="0"/>
            <a:r>
              <a:rPr lang="nl-BE"/>
              <a:t>main 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1056001" y="2470068"/>
            <a:ext cx="2369495" cy="584743"/>
          </a:xfrm>
          <a:prstGeom prst="rect">
            <a:avLst/>
          </a:prstGeom>
        </p:spPr>
        <p:txBody>
          <a:bodyPr vert="horz" wrap="none" lIns="91408" tIns="45704" rIns="91408" bIns="45704">
            <a:spAutoFit/>
          </a:bodyPr>
          <a:lstStyle>
            <a:lvl1pPr marL="0" indent="0">
              <a:buNone/>
              <a:defRPr sz="3200" b="1" i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1.1 Subtitle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056000" y="3120000"/>
            <a:ext cx="10176000" cy="3258000"/>
          </a:xfrm>
          <a:prstGeom prst="rect">
            <a:avLst/>
          </a:prstGeom>
        </p:spPr>
        <p:txBody>
          <a:bodyPr vert="horz" wrap="square" lIns="91408" tIns="45704" rIns="91408" bIns="45704">
            <a:noAutofit/>
          </a:bodyPr>
          <a:lstStyle>
            <a:lvl1pPr marL="0" indent="0" algn="l">
              <a:lnSpc>
                <a:spcPct val="80000"/>
              </a:lnSpc>
              <a:buNone/>
              <a:defRPr sz="2133" b="0" i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 marL="609331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2pPr>
            <a:lvl3pPr marL="1218690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3pPr>
            <a:lvl4pPr marL="1828029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4pPr>
            <a:lvl5pPr marL="2437378" indent="0">
              <a:buNone/>
              <a:defRPr sz="3733">
                <a:solidFill>
                  <a:srgbClr val="000000"/>
                </a:solidFill>
                <a:latin typeface="Omnes Semibold Roman"/>
              </a:defRPr>
            </a:lvl5pPr>
          </a:lstStyle>
          <a:p>
            <a:pPr lvl="0"/>
            <a:r>
              <a:rPr lang="nl-BE"/>
              <a:t>Click to edit tekst</a:t>
            </a:r>
          </a:p>
        </p:txBody>
      </p:sp>
    </p:spTree>
    <p:extLst>
      <p:ext uri="{BB962C8B-B14F-4D97-AF65-F5344CB8AC3E}">
        <p14:creationId xmlns:p14="http://schemas.microsoft.com/office/powerpoint/2010/main" val="17255068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5" Type="http://schemas.openxmlformats.org/officeDocument/2006/relationships/image" Target="../media/image9.emf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7.xml"/><Relationship Id="rId7" Type="http://schemas.openxmlformats.org/officeDocument/2006/relationships/image" Target="../media/image9.emf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2.xml"/><Relationship Id="rId18" Type="http://schemas.openxmlformats.org/officeDocument/2006/relationships/slideLayout" Target="../slideLayouts/slideLayout107.xml"/><Relationship Id="rId26" Type="http://schemas.openxmlformats.org/officeDocument/2006/relationships/slideLayout" Target="../slideLayouts/slideLayout115.xml"/><Relationship Id="rId39" Type="http://schemas.openxmlformats.org/officeDocument/2006/relationships/slideLayout" Target="../slideLayouts/slideLayout128.xml"/><Relationship Id="rId21" Type="http://schemas.openxmlformats.org/officeDocument/2006/relationships/slideLayout" Target="../slideLayouts/slideLayout110.xml"/><Relationship Id="rId34" Type="http://schemas.openxmlformats.org/officeDocument/2006/relationships/slideLayout" Target="../slideLayouts/slideLayout123.xml"/><Relationship Id="rId42" Type="http://schemas.openxmlformats.org/officeDocument/2006/relationships/slideLayout" Target="../slideLayouts/slideLayout131.xml"/><Relationship Id="rId47" Type="http://schemas.openxmlformats.org/officeDocument/2006/relationships/slideLayout" Target="../slideLayouts/slideLayout136.xml"/><Relationship Id="rId50" Type="http://schemas.openxmlformats.org/officeDocument/2006/relationships/slideLayout" Target="../slideLayouts/slideLayout139.xml"/><Relationship Id="rId55" Type="http://schemas.openxmlformats.org/officeDocument/2006/relationships/slideLayout" Target="../slideLayouts/slideLayout144.xml"/><Relationship Id="rId63" Type="http://schemas.openxmlformats.org/officeDocument/2006/relationships/slideLayout" Target="../slideLayouts/slideLayout152.xml"/><Relationship Id="rId68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96.xml"/><Relationship Id="rId71" Type="http://schemas.openxmlformats.org/officeDocument/2006/relationships/slideLayout" Target="../slideLayouts/slideLayout160.xml"/><Relationship Id="rId2" Type="http://schemas.openxmlformats.org/officeDocument/2006/relationships/slideLayout" Target="../slideLayouts/slideLayout91.xml"/><Relationship Id="rId16" Type="http://schemas.openxmlformats.org/officeDocument/2006/relationships/slideLayout" Target="../slideLayouts/slideLayout105.xml"/><Relationship Id="rId29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00.xml"/><Relationship Id="rId24" Type="http://schemas.openxmlformats.org/officeDocument/2006/relationships/slideLayout" Target="../slideLayouts/slideLayout113.xml"/><Relationship Id="rId32" Type="http://schemas.openxmlformats.org/officeDocument/2006/relationships/slideLayout" Target="../slideLayouts/slideLayout121.xml"/><Relationship Id="rId37" Type="http://schemas.openxmlformats.org/officeDocument/2006/relationships/slideLayout" Target="../slideLayouts/slideLayout126.xml"/><Relationship Id="rId40" Type="http://schemas.openxmlformats.org/officeDocument/2006/relationships/slideLayout" Target="../slideLayouts/slideLayout129.xml"/><Relationship Id="rId45" Type="http://schemas.openxmlformats.org/officeDocument/2006/relationships/slideLayout" Target="../slideLayouts/slideLayout134.xml"/><Relationship Id="rId53" Type="http://schemas.openxmlformats.org/officeDocument/2006/relationships/slideLayout" Target="../slideLayouts/slideLayout142.xml"/><Relationship Id="rId58" Type="http://schemas.openxmlformats.org/officeDocument/2006/relationships/slideLayout" Target="../slideLayouts/slideLayout147.xml"/><Relationship Id="rId66" Type="http://schemas.openxmlformats.org/officeDocument/2006/relationships/slideLayout" Target="../slideLayouts/slideLayout155.xml"/><Relationship Id="rId74" Type="http://schemas.openxmlformats.org/officeDocument/2006/relationships/slideLayout" Target="../slideLayouts/slideLayout163.xml"/><Relationship Id="rId5" Type="http://schemas.openxmlformats.org/officeDocument/2006/relationships/slideLayout" Target="../slideLayouts/slideLayout94.xml"/><Relationship Id="rId15" Type="http://schemas.openxmlformats.org/officeDocument/2006/relationships/slideLayout" Target="../slideLayouts/slideLayout104.xml"/><Relationship Id="rId23" Type="http://schemas.openxmlformats.org/officeDocument/2006/relationships/slideLayout" Target="../slideLayouts/slideLayout112.xml"/><Relationship Id="rId28" Type="http://schemas.openxmlformats.org/officeDocument/2006/relationships/slideLayout" Target="../slideLayouts/slideLayout117.xml"/><Relationship Id="rId36" Type="http://schemas.openxmlformats.org/officeDocument/2006/relationships/slideLayout" Target="../slideLayouts/slideLayout125.xml"/><Relationship Id="rId49" Type="http://schemas.openxmlformats.org/officeDocument/2006/relationships/slideLayout" Target="../slideLayouts/slideLayout138.xml"/><Relationship Id="rId57" Type="http://schemas.openxmlformats.org/officeDocument/2006/relationships/slideLayout" Target="../slideLayouts/slideLayout146.xml"/><Relationship Id="rId61" Type="http://schemas.openxmlformats.org/officeDocument/2006/relationships/slideLayout" Target="../slideLayouts/slideLayout150.xml"/><Relationship Id="rId10" Type="http://schemas.openxmlformats.org/officeDocument/2006/relationships/slideLayout" Target="../slideLayouts/slideLayout99.xml"/><Relationship Id="rId19" Type="http://schemas.openxmlformats.org/officeDocument/2006/relationships/slideLayout" Target="../slideLayouts/slideLayout108.xml"/><Relationship Id="rId31" Type="http://schemas.openxmlformats.org/officeDocument/2006/relationships/slideLayout" Target="../slideLayouts/slideLayout120.xml"/><Relationship Id="rId44" Type="http://schemas.openxmlformats.org/officeDocument/2006/relationships/slideLayout" Target="../slideLayouts/slideLayout133.xml"/><Relationship Id="rId52" Type="http://schemas.openxmlformats.org/officeDocument/2006/relationships/slideLayout" Target="../slideLayouts/slideLayout141.xml"/><Relationship Id="rId60" Type="http://schemas.openxmlformats.org/officeDocument/2006/relationships/slideLayout" Target="../slideLayouts/slideLayout149.xml"/><Relationship Id="rId65" Type="http://schemas.openxmlformats.org/officeDocument/2006/relationships/slideLayout" Target="../slideLayouts/slideLayout154.xml"/><Relationship Id="rId73" Type="http://schemas.openxmlformats.org/officeDocument/2006/relationships/slideLayout" Target="../slideLayouts/slideLayout162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Relationship Id="rId22" Type="http://schemas.openxmlformats.org/officeDocument/2006/relationships/slideLayout" Target="../slideLayouts/slideLayout111.xml"/><Relationship Id="rId27" Type="http://schemas.openxmlformats.org/officeDocument/2006/relationships/slideLayout" Target="../slideLayouts/slideLayout116.xml"/><Relationship Id="rId30" Type="http://schemas.openxmlformats.org/officeDocument/2006/relationships/slideLayout" Target="../slideLayouts/slideLayout119.xml"/><Relationship Id="rId35" Type="http://schemas.openxmlformats.org/officeDocument/2006/relationships/slideLayout" Target="../slideLayouts/slideLayout124.xml"/><Relationship Id="rId43" Type="http://schemas.openxmlformats.org/officeDocument/2006/relationships/slideLayout" Target="../slideLayouts/slideLayout132.xml"/><Relationship Id="rId48" Type="http://schemas.openxmlformats.org/officeDocument/2006/relationships/slideLayout" Target="../slideLayouts/slideLayout137.xml"/><Relationship Id="rId56" Type="http://schemas.openxmlformats.org/officeDocument/2006/relationships/slideLayout" Target="../slideLayouts/slideLayout145.xml"/><Relationship Id="rId64" Type="http://schemas.openxmlformats.org/officeDocument/2006/relationships/slideLayout" Target="../slideLayouts/slideLayout153.xml"/><Relationship Id="rId69" Type="http://schemas.openxmlformats.org/officeDocument/2006/relationships/slideLayout" Target="../slideLayouts/slideLayout158.xml"/><Relationship Id="rId8" Type="http://schemas.openxmlformats.org/officeDocument/2006/relationships/slideLayout" Target="../slideLayouts/slideLayout97.xml"/><Relationship Id="rId51" Type="http://schemas.openxmlformats.org/officeDocument/2006/relationships/slideLayout" Target="../slideLayouts/slideLayout140.xml"/><Relationship Id="rId72" Type="http://schemas.openxmlformats.org/officeDocument/2006/relationships/slideLayout" Target="../slideLayouts/slideLayout161.xml"/><Relationship Id="rId3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101.xml"/><Relationship Id="rId17" Type="http://schemas.openxmlformats.org/officeDocument/2006/relationships/slideLayout" Target="../slideLayouts/slideLayout106.xml"/><Relationship Id="rId25" Type="http://schemas.openxmlformats.org/officeDocument/2006/relationships/slideLayout" Target="../slideLayouts/slideLayout114.xml"/><Relationship Id="rId33" Type="http://schemas.openxmlformats.org/officeDocument/2006/relationships/slideLayout" Target="../slideLayouts/slideLayout122.xml"/><Relationship Id="rId38" Type="http://schemas.openxmlformats.org/officeDocument/2006/relationships/slideLayout" Target="../slideLayouts/slideLayout127.xml"/><Relationship Id="rId46" Type="http://schemas.openxmlformats.org/officeDocument/2006/relationships/slideLayout" Target="../slideLayouts/slideLayout135.xml"/><Relationship Id="rId59" Type="http://schemas.openxmlformats.org/officeDocument/2006/relationships/slideLayout" Target="../slideLayouts/slideLayout148.xml"/><Relationship Id="rId67" Type="http://schemas.openxmlformats.org/officeDocument/2006/relationships/slideLayout" Target="../slideLayouts/slideLayout156.xml"/><Relationship Id="rId20" Type="http://schemas.openxmlformats.org/officeDocument/2006/relationships/slideLayout" Target="../slideLayouts/slideLayout109.xml"/><Relationship Id="rId41" Type="http://schemas.openxmlformats.org/officeDocument/2006/relationships/slideLayout" Target="../slideLayouts/slideLayout130.xml"/><Relationship Id="rId54" Type="http://schemas.openxmlformats.org/officeDocument/2006/relationships/slideLayout" Target="../slideLayouts/slideLayout143.xml"/><Relationship Id="rId62" Type="http://schemas.openxmlformats.org/officeDocument/2006/relationships/slideLayout" Target="../slideLayouts/slideLayout151.xml"/><Relationship Id="rId70" Type="http://schemas.openxmlformats.org/officeDocument/2006/relationships/slideLayout" Target="../slideLayouts/slideLayout159.xml"/><Relationship Id="rId75" Type="http://schemas.openxmlformats.org/officeDocument/2006/relationships/theme" Target="../theme/theme4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1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66.xml"/><Relationship Id="rId7" Type="http://schemas.openxmlformats.org/officeDocument/2006/relationships/slideLayout" Target="../slideLayouts/slideLayout170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9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68.xml"/><Relationship Id="rId15" Type="http://schemas.openxmlformats.org/officeDocument/2006/relationships/image" Target="../media/image12.png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167.xml"/><Relationship Id="rId9" Type="http://schemas.openxmlformats.org/officeDocument/2006/relationships/slideLayout" Target="../slideLayouts/slideLayout172.xml"/><Relationship Id="rId14" Type="http://schemas.openxmlformats.org/officeDocument/2006/relationships/image" Target="../media/image1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.xml"/><Relationship Id="rId13" Type="http://schemas.openxmlformats.org/officeDocument/2006/relationships/vmlDrawing" Target="../drawings/vmlDrawing8.vml"/><Relationship Id="rId3" Type="http://schemas.openxmlformats.org/officeDocument/2006/relationships/slideLayout" Target="../slideLayouts/slideLayout175.xml"/><Relationship Id="rId7" Type="http://schemas.openxmlformats.org/officeDocument/2006/relationships/slideLayout" Target="../slideLayouts/slideLayout179.xml"/><Relationship Id="rId12" Type="http://schemas.openxmlformats.org/officeDocument/2006/relationships/theme" Target="../theme/theme6.xml"/><Relationship Id="rId17" Type="http://schemas.openxmlformats.org/officeDocument/2006/relationships/image" Target="../media/image12.png"/><Relationship Id="rId2" Type="http://schemas.openxmlformats.org/officeDocument/2006/relationships/slideLayout" Target="../slideLayouts/slideLayout174.xml"/><Relationship Id="rId16" Type="http://schemas.openxmlformats.org/officeDocument/2006/relationships/image" Target="../media/image11.emf"/><Relationship Id="rId1" Type="http://schemas.openxmlformats.org/officeDocument/2006/relationships/slideLayout" Target="../slideLayouts/slideLayout173.xml"/><Relationship Id="rId6" Type="http://schemas.openxmlformats.org/officeDocument/2006/relationships/slideLayout" Target="../slideLayouts/slideLayout178.xml"/><Relationship Id="rId11" Type="http://schemas.openxmlformats.org/officeDocument/2006/relationships/slideLayout" Target="../slideLayouts/slideLayout183.xml"/><Relationship Id="rId5" Type="http://schemas.openxmlformats.org/officeDocument/2006/relationships/slideLayout" Target="../slideLayouts/slideLayout177.xml"/><Relationship Id="rId15" Type="http://schemas.openxmlformats.org/officeDocument/2006/relationships/oleObject" Target="../embeddings/oleObject8.bin"/><Relationship Id="rId10" Type="http://schemas.openxmlformats.org/officeDocument/2006/relationships/slideLayout" Target="../slideLayouts/slideLayout182.xml"/><Relationship Id="rId4" Type="http://schemas.openxmlformats.org/officeDocument/2006/relationships/slideLayout" Target="../slideLayouts/slideLayout176.xml"/><Relationship Id="rId9" Type="http://schemas.openxmlformats.org/officeDocument/2006/relationships/slideLayout" Target="../slideLayouts/slideLayout181.xml"/><Relationship Id="rId14" Type="http://schemas.openxmlformats.org/officeDocument/2006/relationships/tags" Target="../tags/tag8.xml"/></Relationships>
</file>

<file path=ppt/slideMasters/_rels/slideMaster7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09.xml"/><Relationship Id="rId117" Type="http://schemas.openxmlformats.org/officeDocument/2006/relationships/slideLayout" Target="../slideLayouts/slideLayout300.xml"/><Relationship Id="rId21" Type="http://schemas.openxmlformats.org/officeDocument/2006/relationships/slideLayout" Target="../slideLayouts/slideLayout204.xml"/><Relationship Id="rId42" Type="http://schemas.openxmlformats.org/officeDocument/2006/relationships/slideLayout" Target="../slideLayouts/slideLayout225.xml"/><Relationship Id="rId47" Type="http://schemas.openxmlformats.org/officeDocument/2006/relationships/slideLayout" Target="../slideLayouts/slideLayout230.xml"/><Relationship Id="rId63" Type="http://schemas.openxmlformats.org/officeDocument/2006/relationships/slideLayout" Target="../slideLayouts/slideLayout246.xml"/><Relationship Id="rId68" Type="http://schemas.openxmlformats.org/officeDocument/2006/relationships/slideLayout" Target="../slideLayouts/slideLayout251.xml"/><Relationship Id="rId84" Type="http://schemas.openxmlformats.org/officeDocument/2006/relationships/slideLayout" Target="../slideLayouts/slideLayout267.xml"/><Relationship Id="rId89" Type="http://schemas.openxmlformats.org/officeDocument/2006/relationships/slideLayout" Target="../slideLayouts/slideLayout272.xml"/><Relationship Id="rId112" Type="http://schemas.openxmlformats.org/officeDocument/2006/relationships/slideLayout" Target="../slideLayouts/slideLayout295.xml"/><Relationship Id="rId133" Type="http://schemas.openxmlformats.org/officeDocument/2006/relationships/slideLayout" Target="../slideLayouts/slideLayout316.xml"/><Relationship Id="rId138" Type="http://schemas.openxmlformats.org/officeDocument/2006/relationships/slideLayout" Target="../slideLayouts/slideLayout321.xml"/><Relationship Id="rId16" Type="http://schemas.openxmlformats.org/officeDocument/2006/relationships/slideLayout" Target="../slideLayouts/slideLayout199.xml"/><Relationship Id="rId107" Type="http://schemas.openxmlformats.org/officeDocument/2006/relationships/slideLayout" Target="../slideLayouts/slideLayout290.xml"/><Relationship Id="rId11" Type="http://schemas.openxmlformats.org/officeDocument/2006/relationships/slideLayout" Target="../slideLayouts/slideLayout194.xml"/><Relationship Id="rId32" Type="http://schemas.openxmlformats.org/officeDocument/2006/relationships/slideLayout" Target="../slideLayouts/slideLayout215.xml"/><Relationship Id="rId37" Type="http://schemas.openxmlformats.org/officeDocument/2006/relationships/slideLayout" Target="../slideLayouts/slideLayout220.xml"/><Relationship Id="rId53" Type="http://schemas.openxmlformats.org/officeDocument/2006/relationships/slideLayout" Target="../slideLayouts/slideLayout236.xml"/><Relationship Id="rId58" Type="http://schemas.openxmlformats.org/officeDocument/2006/relationships/slideLayout" Target="../slideLayouts/slideLayout241.xml"/><Relationship Id="rId74" Type="http://schemas.openxmlformats.org/officeDocument/2006/relationships/slideLayout" Target="../slideLayouts/slideLayout257.xml"/><Relationship Id="rId79" Type="http://schemas.openxmlformats.org/officeDocument/2006/relationships/slideLayout" Target="../slideLayouts/slideLayout262.xml"/><Relationship Id="rId102" Type="http://schemas.openxmlformats.org/officeDocument/2006/relationships/slideLayout" Target="../slideLayouts/slideLayout285.xml"/><Relationship Id="rId123" Type="http://schemas.openxmlformats.org/officeDocument/2006/relationships/slideLayout" Target="../slideLayouts/slideLayout306.xml"/><Relationship Id="rId128" Type="http://schemas.openxmlformats.org/officeDocument/2006/relationships/slideLayout" Target="../slideLayouts/slideLayout311.xml"/><Relationship Id="rId5" Type="http://schemas.openxmlformats.org/officeDocument/2006/relationships/slideLayout" Target="../slideLayouts/slideLayout188.xml"/><Relationship Id="rId90" Type="http://schemas.openxmlformats.org/officeDocument/2006/relationships/slideLayout" Target="../slideLayouts/slideLayout273.xml"/><Relationship Id="rId95" Type="http://schemas.openxmlformats.org/officeDocument/2006/relationships/slideLayout" Target="../slideLayouts/slideLayout278.xml"/><Relationship Id="rId22" Type="http://schemas.openxmlformats.org/officeDocument/2006/relationships/slideLayout" Target="../slideLayouts/slideLayout205.xml"/><Relationship Id="rId27" Type="http://schemas.openxmlformats.org/officeDocument/2006/relationships/slideLayout" Target="../slideLayouts/slideLayout210.xml"/><Relationship Id="rId43" Type="http://schemas.openxmlformats.org/officeDocument/2006/relationships/slideLayout" Target="../slideLayouts/slideLayout226.xml"/><Relationship Id="rId48" Type="http://schemas.openxmlformats.org/officeDocument/2006/relationships/slideLayout" Target="../slideLayouts/slideLayout231.xml"/><Relationship Id="rId64" Type="http://schemas.openxmlformats.org/officeDocument/2006/relationships/slideLayout" Target="../slideLayouts/slideLayout247.xml"/><Relationship Id="rId69" Type="http://schemas.openxmlformats.org/officeDocument/2006/relationships/slideLayout" Target="../slideLayouts/slideLayout252.xml"/><Relationship Id="rId113" Type="http://schemas.openxmlformats.org/officeDocument/2006/relationships/slideLayout" Target="../slideLayouts/slideLayout296.xml"/><Relationship Id="rId118" Type="http://schemas.openxmlformats.org/officeDocument/2006/relationships/slideLayout" Target="../slideLayouts/slideLayout301.xml"/><Relationship Id="rId134" Type="http://schemas.openxmlformats.org/officeDocument/2006/relationships/slideLayout" Target="../slideLayouts/slideLayout317.xml"/><Relationship Id="rId139" Type="http://schemas.openxmlformats.org/officeDocument/2006/relationships/slideLayout" Target="../slideLayouts/slideLayout322.xml"/><Relationship Id="rId8" Type="http://schemas.openxmlformats.org/officeDocument/2006/relationships/slideLayout" Target="../slideLayouts/slideLayout191.xml"/><Relationship Id="rId51" Type="http://schemas.openxmlformats.org/officeDocument/2006/relationships/slideLayout" Target="../slideLayouts/slideLayout234.xml"/><Relationship Id="rId72" Type="http://schemas.openxmlformats.org/officeDocument/2006/relationships/slideLayout" Target="../slideLayouts/slideLayout255.xml"/><Relationship Id="rId80" Type="http://schemas.openxmlformats.org/officeDocument/2006/relationships/slideLayout" Target="../slideLayouts/slideLayout263.xml"/><Relationship Id="rId85" Type="http://schemas.openxmlformats.org/officeDocument/2006/relationships/slideLayout" Target="../slideLayouts/slideLayout268.xml"/><Relationship Id="rId93" Type="http://schemas.openxmlformats.org/officeDocument/2006/relationships/slideLayout" Target="../slideLayouts/slideLayout276.xml"/><Relationship Id="rId98" Type="http://schemas.openxmlformats.org/officeDocument/2006/relationships/slideLayout" Target="../slideLayouts/slideLayout281.xml"/><Relationship Id="rId121" Type="http://schemas.openxmlformats.org/officeDocument/2006/relationships/slideLayout" Target="../slideLayouts/slideLayout304.xml"/><Relationship Id="rId3" Type="http://schemas.openxmlformats.org/officeDocument/2006/relationships/slideLayout" Target="../slideLayouts/slideLayout186.xml"/><Relationship Id="rId12" Type="http://schemas.openxmlformats.org/officeDocument/2006/relationships/slideLayout" Target="../slideLayouts/slideLayout195.xml"/><Relationship Id="rId17" Type="http://schemas.openxmlformats.org/officeDocument/2006/relationships/slideLayout" Target="../slideLayouts/slideLayout200.xml"/><Relationship Id="rId25" Type="http://schemas.openxmlformats.org/officeDocument/2006/relationships/slideLayout" Target="../slideLayouts/slideLayout208.xml"/><Relationship Id="rId33" Type="http://schemas.openxmlformats.org/officeDocument/2006/relationships/slideLayout" Target="../slideLayouts/slideLayout216.xml"/><Relationship Id="rId38" Type="http://schemas.openxmlformats.org/officeDocument/2006/relationships/slideLayout" Target="../slideLayouts/slideLayout221.xml"/><Relationship Id="rId46" Type="http://schemas.openxmlformats.org/officeDocument/2006/relationships/slideLayout" Target="../slideLayouts/slideLayout229.xml"/><Relationship Id="rId59" Type="http://schemas.openxmlformats.org/officeDocument/2006/relationships/slideLayout" Target="../slideLayouts/slideLayout242.xml"/><Relationship Id="rId67" Type="http://schemas.openxmlformats.org/officeDocument/2006/relationships/slideLayout" Target="../slideLayouts/slideLayout250.xml"/><Relationship Id="rId103" Type="http://schemas.openxmlformats.org/officeDocument/2006/relationships/slideLayout" Target="../slideLayouts/slideLayout286.xml"/><Relationship Id="rId108" Type="http://schemas.openxmlformats.org/officeDocument/2006/relationships/slideLayout" Target="../slideLayouts/slideLayout291.xml"/><Relationship Id="rId116" Type="http://schemas.openxmlformats.org/officeDocument/2006/relationships/slideLayout" Target="../slideLayouts/slideLayout299.xml"/><Relationship Id="rId124" Type="http://schemas.openxmlformats.org/officeDocument/2006/relationships/slideLayout" Target="../slideLayouts/slideLayout307.xml"/><Relationship Id="rId129" Type="http://schemas.openxmlformats.org/officeDocument/2006/relationships/slideLayout" Target="../slideLayouts/slideLayout312.xml"/><Relationship Id="rId137" Type="http://schemas.openxmlformats.org/officeDocument/2006/relationships/slideLayout" Target="../slideLayouts/slideLayout320.xml"/><Relationship Id="rId20" Type="http://schemas.openxmlformats.org/officeDocument/2006/relationships/slideLayout" Target="../slideLayouts/slideLayout203.xml"/><Relationship Id="rId41" Type="http://schemas.openxmlformats.org/officeDocument/2006/relationships/slideLayout" Target="../slideLayouts/slideLayout224.xml"/><Relationship Id="rId54" Type="http://schemas.openxmlformats.org/officeDocument/2006/relationships/slideLayout" Target="../slideLayouts/slideLayout237.xml"/><Relationship Id="rId62" Type="http://schemas.openxmlformats.org/officeDocument/2006/relationships/slideLayout" Target="../slideLayouts/slideLayout245.xml"/><Relationship Id="rId70" Type="http://schemas.openxmlformats.org/officeDocument/2006/relationships/slideLayout" Target="../slideLayouts/slideLayout253.xml"/><Relationship Id="rId75" Type="http://schemas.openxmlformats.org/officeDocument/2006/relationships/slideLayout" Target="../slideLayouts/slideLayout258.xml"/><Relationship Id="rId83" Type="http://schemas.openxmlformats.org/officeDocument/2006/relationships/slideLayout" Target="../slideLayouts/slideLayout266.xml"/><Relationship Id="rId88" Type="http://schemas.openxmlformats.org/officeDocument/2006/relationships/slideLayout" Target="../slideLayouts/slideLayout271.xml"/><Relationship Id="rId91" Type="http://schemas.openxmlformats.org/officeDocument/2006/relationships/slideLayout" Target="../slideLayouts/slideLayout274.xml"/><Relationship Id="rId96" Type="http://schemas.openxmlformats.org/officeDocument/2006/relationships/slideLayout" Target="../slideLayouts/slideLayout279.xml"/><Relationship Id="rId111" Type="http://schemas.openxmlformats.org/officeDocument/2006/relationships/slideLayout" Target="../slideLayouts/slideLayout294.xml"/><Relationship Id="rId132" Type="http://schemas.openxmlformats.org/officeDocument/2006/relationships/slideLayout" Target="../slideLayouts/slideLayout315.xml"/><Relationship Id="rId140" Type="http://schemas.openxmlformats.org/officeDocument/2006/relationships/slideLayout" Target="../slideLayouts/slideLayout323.xml"/><Relationship Id="rId1" Type="http://schemas.openxmlformats.org/officeDocument/2006/relationships/slideLayout" Target="../slideLayouts/slideLayout184.xml"/><Relationship Id="rId6" Type="http://schemas.openxmlformats.org/officeDocument/2006/relationships/slideLayout" Target="../slideLayouts/slideLayout189.xml"/><Relationship Id="rId15" Type="http://schemas.openxmlformats.org/officeDocument/2006/relationships/slideLayout" Target="../slideLayouts/slideLayout198.xml"/><Relationship Id="rId23" Type="http://schemas.openxmlformats.org/officeDocument/2006/relationships/slideLayout" Target="../slideLayouts/slideLayout206.xml"/><Relationship Id="rId28" Type="http://schemas.openxmlformats.org/officeDocument/2006/relationships/slideLayout" Target="../slideLayouts/slideLayout211.xml"/><Relationship Id="rId36" Type="http://schemas.openxmlformats.org/officeDocument/2006/relationships/slideLayout" Target="../slideLayouts/slideLayout219.xml"/><Relationship Id="rId49" Type="http://schemas.openxmlformats.org/officeDocument/2006/relationships/slideLayout" Target="../slideLayouts/slideLayout232.xml"/><Relationship Id="rId57" Type="http://schemas.openxmlformats.org/officeDocument/2006/relationships/slideLayout" Target="../slideLayouts/slideLayout240.xml"/><Relationship Id="rId106" Type="http://schemas.openxmlformats.org/officeDocument/2006/relationships/slideLayout" Target="../slideLayouts/slideLayout289.xml"/><Relationship Id="rId114" Type="http://schemas.openxmlformats.org/officeDocument/2006/relationships/slideLayout" Target="../slideLayouts/slideLayout297.xml"/><Relationship Id="rId119" Type="http://schemas.openxmlformats.org/officeDocument/2006/relationships/slideLayout" Target="../slideLayouts/slideLayout302.xml"/><Relationship Id="rId127" Type="http://schemas.openxmlformats.org/officeDocument/2006/relationships/slideLayout" Target="../slideLayouts/slideLayout310.xml"/><Relationship Id="rId10" Type="http://schemas.openxmlformats.org/officeDocument/2006/relationships/slideLayout" Target="../slideLayouts/slideLayout193.xml"/><Relationship Id="rId31" Type="http://schemas.openxmlformats.org/officeDocument/2006/relationships/slideLayout" Target="../slideLayouts/slideLayout214.xml"/><Relationship Id="rId44" Type="http://schemas.openxmlformats.org/officeDocument/2006/relationships/slideLayout" Target="../slideLayouts/slideLayout227.xml"/><Relationship Id="rId52" Type="http://schemas.openxmlformats.org/officeDocument/2006/relationships/slideLayout" Target="../slideLayouts/slideLayout235.xml"/><Relationship Id="rId60" Type="http://schemas.openxmlformats.org/officeDocument/2006/relationships/slideLayout" Target="../slideLayouts/slideLayout243.xml"/><Relationship Id="rId65" Type="http://schemas.openxmlformats.org/officeDocument/2006/relationships/slideLayout" Target="../slideLayouts/slideLayout248.xml"/><Relationship Id="rId73" Type="http://schemas.openxmlformats.org/officeDocument/2006/relationships/slideLayout" Target="../slideLayouts/slideLayout256.xml"/><Relationship Id="rId78" Type="http://schemas.openxmlformats.org/officeDocument/2006/relationships/slideLayout" Target="../slideLayouts/slideLayout261.xml"/><Relationship Id="rId81" Type="http://schemas.openxmlformats.org/officeDocument/2006/relationships/slideLayout" Target="../slideLayouts/slideLayout264.xml"/><Relationship Id="rId86" Type="http://schemas.openxmlformats.org/officeDocument/2006/relationships/slideLayout" Target="../slideLayouts/slideLayout269.xml"/><Relationship Id="rId94" Type="http://schemas.openxmlformats.org/officeDocument/2006/relationships/slideLayout" Target="../slideLayouts/slideLayout277.xml"/><Relationship Id="rId99" Type="http://schemas.openxmlformats.org/officeDocument/2006/relationships/slideLayout" Target="../slideLayouts/slideLayout282.xml"/><Relationship Id="rId101" Type="http://schemas.openxmlformats.org/officeDocument/2006/relationships/slideLayout" Target="../slideLayouts/slideLayout284.xml"/><Relationship Id="rId122" Type="http://schemas.openxmlformats.org/officeDocument/2006/relationships/slideLayout" Target="../slideLayouts/slideLayout305.xml"/><Relationship Id="rId130" Type="http://schemas.openxmlformats.org/officeDocument/2006/relationships/slideLayout" Target="../slideLayouts/slideLayout313.xml"/><Relationship Id="rId135" Type="http://schemas.openxmlformats.org/officeDocument/2006/relationships/slideLayout" Target="../slideLayouts/slideLayout318.xml"/><Relationship Id="rId4" Type="http://schemas.openxmlformats.org/officeDocument/2006/relationships/slideLayout" Target="../slideLayouts/slideLayout187.xml"/><Relationship Id="rId9" Type="http://schemas.openxmlformats.org/officeDocument/2006/relationships/slideLayout" Target="../slideLayouts/slideLayout192.xml"/><Relationship Id="rId13" Type="http://schemas.openxmlformats.org/officeDocument/2006/relationships/slideLayout" Target="../slideLayouts/slideLayout196.xml"/><Relationship Id="rId18" Type="http://schemas.openxmlformats.org/officeDocument/2006/relationships/slideLayout" Target="../slideLayouts/slideLayout201.xml"/><Relationship Id="rId39" Type="http://schemas.openxmlformats.org/officeDocument/2006/relationships/slideLayout" Target="../slideLayouts/slideLayout222.xml"/><Relationship Id="rId109" Type="http://schemas.openxmlformats.org/officeDocument/2006/relationships/slideLayout" Target="../slideLayouts/slideLayout292.xml"/><Relationship Id="rId34" Type="http://schemas.openxmlformats.org/officeDocument/2006/relationships/slideLayout" Target="../slideLayouts/slideLayout217.xml"/><Relationship Id="rId50" Type="http://schemas.openxmlformats.org/officeDocument/2006/relationships/slideLayout" Target="../slideLayouts/slideLayout233.xml"/><Relationship Id="rId55" Type="http://schemas.openxmlformats.org/officeDocument/2006/relationships/slideLayout" Target="../slideLayouts/slideLayout238.xml"/><Relationship Id="rId76" Type="http://schemas.openxmlformats.org/officeDocument/2006/relationships/slideLayout" Target="../slideLayouts/slideLayout259.xml"/><Relationship Id="rId97" Type="http://schemas.openxmlformats.org/officeDocument/2006/relationships/slideLayout" Target="../slideLayouts/slideLayout280.xml"/><Relationship Id="rId104" Type="http://schemas.openxmlformats.org/officeDocument/2006/relationships/slideLayout" Target="../slideLayouts/slideLayout287.xml"/><Relationship Id="rId120" Type="http://schemas.openxmlformats.org/officeDocument/2006/relationships/slideLayout" Target="../slideLayouts/slideLayout303.xml"/><Relationship Id="rId125" Type="http://schemas.openxmlformats.org/officeDocument/2006/relationships/slideLayout" Target="../slideLayouts/slideLayout308.xml"/><Relationship Id="rId141" Type="http://schemas.openxmlformats.org/officeDocument/2006/relationships/theme" Target="../theme/theme7.xml"/><Relationship Id="rId7" Type="http://schemas.openxmlformats.org/officeDocument/2006/relationships/slideLayout" Target="../slideLayouts/slideLayout190.xml"/><Relationship Id="rId71" Type="http://schemas.openxmlformats.org/officeDocument/2006/relationships/slideLayout" Target="../slideLayouts/slideLayout254.xml"/><Relationship Id="rId92" Type="http://schemas.openxmlformats.org/officeDocument/2006/relationships/slideLayout" Target="../slideLayouts/slideLayout275.xml"/><Relationship Id="rId2" Type="http://schemas.openxmlformats.org/officeDocument/2006/relationships/slideLayout" Target="../slideLayouts/slideLayout185.xml"/><Relationship Id="rId29" Type="http://schemas.openxmlformats.org/officeDocument/2006/relationships/slideLayout" Target="../slideLayouts/slideLayout212.xml"/><Relationship Id="rId24" Type="http://schemas.openxmlformats.org/officeDocument/2006/relationships/slideLayout" Target="../slideLayouts/slideLayout207.xml"/><Relationship Id="rId40" Type="http://schemas.openxmlformats.org/officeDocument/2006/relationships/slideLayout" Target="../slideLayouts/slideLayout223.xml"/><Relationship Id="rId45" Type="http://schemas.openxmlformats.org/officeDocument/2006/relationships/slideLayout" Target="../slideLayouts/slideLayout228.xml"/><Relationship Id="rId66" Type="http://schemas.openxmlformats.org/officeDocument/2006/relationships/slideLayout" Target="../slideLayouts/slideLayout249.xml"/><Relationship Id="rId87" Type="http://schemas.openxmlformats.org/officeDocument/2006/relationships/slideLayout" Target="../slideLayouts/slideLayout270.xml"/><Relationship Id="rId110" Type="http://schemas.openxmlformats.org/officeDocument/2006/relationships/slideLayout" Target="../slideLayouts/slideLayout293.xml"/><Relationship Id="rId115" Type="http://schemas.openxmlformats.org/officeDocument/2006/relationships/slideLayout" Target="../slideLayouts/slideLayout298.xml"/><Relationship Id="rId131" Type="http://schemas.openxmlformats.org/officeDocument/2006/relationships/slideLayout" Target="../slideLayouts/slideLayout314.xml"/><Relationship Id="rId136" Type="http://schemas.openxmlformats.org/officeDocument/2006/relationships/slideLayout" Target="../slideLayouts/slideLayout319.xml"/><Relationship Id="rId61" Type="http://schemas.openxmlformats.org/officeDocument/2006/relationships/slideLayout" Target="../slideLayouts/slideLayout244.xml"/><Relationship Id="rId82" Type="http://schemas.openxmlformats.org/officeDocument/2006/relationships/slideLayout" Target="../slideLayouts/slideLayout265.xml"/><Relationship Id="rId19" Type="http://schemas.openxmlformats.org/officeDocument/2006/relationships/slideLayout" Target="../slideLayouts/slideLayout202.xml"/><Relationship Id="rId14" Type="http://schemas.openxmlformats.org/officeDocument/2006/relationships/slideLayout" Target="../slideLayouts/slideLayout197.xml"/><Relationship Id="rId30" Type="http://schemas.openxmlformats.org/officeDocument/2006/relationships/slideLayout" Target="../slideLayouts/slideLayout213.xml"/><Relationship Id="rId35" Type="http://schemas.openxmlformats.org/officeDocument/2006/relationships/slideLayout" Target="../slideLayouts/slideLayout218.xml"/><Relationship Id="rId56" Type="http://schemas.openxmlformats.org/officeDocument/2006/relationships/slideLayout" Target="../slideLayouts/slideLayout239.xml"/><Relationship Id="rId77" Type="http://schemas.openxmlformats.org/officeDocument/2006/relationships/slideLayout" Target="../slideLayouts/slideLayout260.xml"/><Relationship Id="rId100" Type="http://schemas.openxmlformats.org/officeDocument/2006/relationships/slideLayout" Target="../slideLayouts/slideLayout283.xml"/><Relationship Id="rId105" Type="http://schemas.openxmlformats.org/officeDocument/2006/relationships/slideLayout" Target="../slideLayouts/slideLayout288.xml"/><Relationship Id="rId126" Type="http://schemas.openxmlformats.org/officeDocument/2006/relationships/slideLayout" Target="../slideLayouts/slideLayout309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6.xml"/><Relationship Id="rId2" Type="http://schemas.openxmlformats.org/officeDocument/2006/relationships/slideLayout" Target="../slideLayouts/slideLayout325.xml"/><Relationship Id="rId1" Type="http://schemas.openxmlformats.org/officeDocument/2006/relationships/slideLayout" Target="../slideLayouts/slideLayout324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328.xml"/><Relationship Id="rId4" Type="http://schemas.openxmlformats.org/officeDocument/2006/relationships/slideLayout" Target="../slideLayouts/slideLayout3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9228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  <p:sldLayoutId id="2147483683" r:id="rId16"/>
    <p:sldLayoutId id="2147483684" r:id="rId17"/>
    <p:sldLayoutId id="2147483685" r:id="rId18"/>
    <p:sldLayoutId id="2147483686" r:id="rId19"/>
    <p:sldLayoutId id="2147483687" r:id="rId20"/>
    <p:sldLayoutId id="2147483688" r:id="rId21"/>
    <p:sldLayoutId id="2147483689" r:id="rId22"/>
    <p:sldLayoutId id="2147483690" r:id="rId23"/>
    <p:sldLayoutId id="2147483691" r:id="rId24"/>
    <p:sldLayoutId id="2147483692" r:id="rId25"/>
    <p:sldLayoutId id="2147483693" r:id="rId26"/>
    <p:sldLayoutId id="2147483694" r:id="rId27"/>
    <p:sldLayoutId id="2147483695" r:id="rId28"/>
    <p:sldLayoutId id="2147483696" r:id="rId29"/>
    <p:sldLayoutId id="2147483697" r:id="rId30"/>
    <p:sldLayoutId id="2147483698" r:id="rId31"/>
    <p:sldLayoutId id="2147483699" r:id="rId32"/>
    <p:sldLayoutId id="2147483700" r:id="rId33"/>
    <p:sldLayoutId id="2147483701" r:id="rId34"/>
    <p:sldLayoutId id="2147483702" r:id="rId35"/>
    <p:sldLayoutId id="2147483703" r:id="rId36"/>
    <p:sldLayoutId id="2147483704" r:id="rId37"/>
    <p:sldLayoutId id="2147483705" r:id="rId38"/>
    <p:sldLayoutId id="2147483706" r:id="rId39"/>
    <p:sldLayoutId id="2147483707" r:id="rId40"/>
    <p:sldLayoutId id="2147483708" r:id="rId41"/>
    <p:sldLayoutId id="2147483709" r:id="rId42"/>
    <p:sldLayoutId id="2147483710" r:id="rId43"/>
    <p:sldLayoutId id="2147483711" r:id="rId44"/>
    <p:sldLayoutId id="2147483712" r:id="rId45"/>
    <p:sldLayoutId id="2147483713" r:id="rId46"/>
    <p:sldLayoutId id="2147483714" r:id="rId47"/>
    <p:sldLayoutId id="2147483715" r:id="rId48"/>
    <p:sldLayoutId id="2147483716" r:id="rId49"/>
    <p:sldLayoutId id="2147483717" r:id="rId50"/>
    <p:sldLayoutId id="2147483718" r:id="rId51"/>
    <p:sldLayoutId id="2147483719" r:id="rId52"/>
    <p:sldLayoutId id="2147483720" r:id="rId53"/>
    <p:sldLayoutId id="2147483721" r:id="rId54"/>
    <p:sldLayoutId id="2147483722" r:id="rId55"/>
    <p:sldLayoutId id="2147483723" r:id="rId56"/>
    <p:sldLayoutId id="2147483724" r:id="rId57"/>
    <p:sldLayoutId id="2147483725" r:id="rId58"/>
    <p:sldLayoutId id="2147483726" r:id="rId59"/>
    <p:sldLayoutId id="2147483727" r:id="rId60"/>
    <p:sldLayoutId id="2147483728" r:id="rId61"/>
    <p:sldLayoutId id="2147483729" r:id="rId62"/>
    <p:sldLayoutId id="2147483730" r:id="rId63"/>
    <p:sldLayoutId id="2147483731" r:id="rId64"/>
    <p:sldLayoutId id="2147483732" r:id="rId65"/>
    <p:sldLayoutId id="2147483733" r:id="rId66"/>
    <p:sldLayoutId id="2147483734" r:id="rId67"/>
    <p:sldLayoutId id="2147483735" r:id="rId68"/>
    <p:sldLayoutId id="2147483736" r:id="rId69"/>
    <p:sldLayoutId id="2147483737" r:id="rId70"/>
    <p:sldLayoutId id="2147483738" r:id="rId71"/>
  </p:sldLayoutIdLst>
  <p:txStyles>
    <p:titleStyle>
      <a:lvl1pPr algn="ctr" defTabSz="609570" rtl="0" eaLnBrk="1" fontAlgn="base" hangingPunct="1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2pPr>
      <a:lvl3pPr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3pPr>
      <a:lvl4pPr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4pPr>
      <a:lvl5pPr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5pPr>
      <a:lvl6pPr marL="609570"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6pPr>
      <a:lvl7pPr marL="1219140"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7pPr>
      <a:lvl8pPr marL="1828709"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8pPr>
      <a:lvl9pPr marL="2438278"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9pPr>
    </p:titleStyle>
    <p:bodyStyle>
      <a:lvl1pPr marL="457178" indent="-457178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4267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990550" indent="-380981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3733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523925" indent="-304784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2133493" indent="-304784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67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743062" indent="-304784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667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1581152" y="607485"/>
            <a:ext cx="9245599" cy="827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err="1">
                <a:sym typeface="Helvetica" charset="0"/>
              </a:rPr>
              <a:t>Telenet</a:t>
            </a:r>
            <a:r>
              <a:rPr lang="en-US">
                <a:sym typeface="Helvetica" charset="0"/>
              </a:rPr>
              <a:t> White</a:t>
            </a:r>
          </a:p>
        </p:txBody>
      </p:sp>
      <p:sp>
        <p:nvSpPr>
          <p:cNvPr id="1024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587503" y="1435100"/>
            <a:ext cx="9239248" cy="4927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>
                <a:sym typeface="Helvetica" charset="0"/>
              </a:rPr>
              <a:t>First level</a:t>
            </a:r>
          </a:p>
          <a:p>
            <a:pPr lvl="1"/>
            <a:r>
              <a:rPr lang="en-US">
                <a:sym typeface="Helvetica" charset="0"/>
              </a:rPr>
              <a:t>Second level</a:t>
            </a:r>
          </a:p>
          <a:p>
            <a:pPr lvl="2"/>
            <a:r>
              <a:rPr lang="en-US">
                <a:sym typeface="Helvetica" charset="0"/>
              </a:rPr>
              <a:t>Third level</a:t>
            </a:r>
          </a:p>
          <a:p>
            <a:pPr lvl="3"/>
            <a:r>
              <a:rPr lang="en-US">
                <a:sym typeface="Helvetica" charset="0"/>
              </a:rPr>
              <a:t>Fourth level</a:t>
            </a:r>
          </a:p>
          <a:p>
            <a:pPr lvl="4"/>
            <a:r>
              <a:rPr lang="en-US">
                <a:sym typeface="Helvetica" charset="0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9841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  <p:sldLayoutId id="2147483853" r:id="rId13"/>
  </p:sldLayoutIdLst>
  <p:transition/>
  <p:hf hdr="0" ftr="0" dt="0"/>
  <p:txStyles>
    <p:titleStyle>
      <a:lvl1pPr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defRPr sz="2667" b="1" i="0" baseline="0">
          <a:solidFill>
            <a:schemeClr val="tx1"/>
          </a:solidFill>
          <a:latin typeface="Arial"/>
          <a:ea typeface="+mj-ea"/>
          <a:cs typeface="Arial"/>
          <a:sym typeface="Helvetica" charset="0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717171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717171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717171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717171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5pPr>
      <a:lvl6pPr marL="228536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505050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6pPr>
      <a:lvl7pPr marL="45706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505050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7pPr>
      <a:lvl8pPr marL="68560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505050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8pPr>
      <a:lvl9pPr marL="914134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505050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9pPr>
    </p:titleStyle>
    <p:bodyStyle>
      <a:lvl1pPr marL="355582" indent="-355582" algn="l" rtl="0" eaLnBrk="1" fontAlgn="base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80000"/>
        <a:buFontTx/>
        <a:buBlip>
          <a:blip r:embed="rId15"/>
        </a:buBlip>
        <a:defRPr sz="1867" b="0" i="0">
          <a:solidFill>
            <a:schemeClr val="tx1"/>
          </a:solidFill>
          <a:latin typeface="Arial"/>
          <a:ea typeface="+mn-ea"/>
          <a:cs typeface="Arial"/>
          <a:sym typeface="Helvetica" charset="0"/>
        </a:defRPr>
      </a:lvl1pPr>
      <a:lvl2pPr marL="721749" indent="-364050" algn="l" rtl="0" eaLnBrk="1" fontAlgn="base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80000"/>
        <a:buFontTx/>
        <a:buBlip>
          <a:blip r:embed="rId15"/>
        </a:buBlip>
        <a:defRPr sz="1600" b="0" i="0">
          <a:solidFill>
            <a:schemeClr val="tx1"/>
          </a:solidFill>
          <a:latin typeface="Arial"/>
          <a:ea typeface="+mn-ea"/>
          <a:cs typeface="Arial"/>
          <a:sym typeface="Helvetica" charset="0"/>
        </a:defRPr>
      </a:lvl2pPr>
      <a:lvl3pPr marL="1075213" indent="-353466" algn="l" rtl="0" eaLnBrk="1" fontAlgn="base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80000"/>
        <a:buFontTx/>
        <a:buBlip>
          <a:blip r:embed="rId15"/>
        </a:buBlip>
        <a:tabLst/>
        <a:defRPr sz="1600" b="0" i="0">
          <a:solidFill>
            <a:schemeClr val="tx1"/>
          </a:solidFill>
          <a:latin typeface="Arial"/>
          <a:ea typeface="+mn-ea"/>
          <a:cs typeface="Arial"/>
          <a:sym typeface="Helvetica" charset="0"/>
        </a:defRPr>
      </a:lvl3pPr>
      <a:lvl4pPr marL="1432912" indent="-357699" algn="l" rtl="0" eaLnBrk="1" fontAlgn="base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80000"/>
        <a:buFontTx/>
        <a:buBlip>
          <a:blip r:embed="rId15"/>
        </a:buBlip>
        <a:tabLst/>
        <a:defRPr sz="1333" b="0" i="0">
          <a:solidFill>
            <a:schemeClr val="tx1"/>
          </a:solidFill>
          <a:latin typeface="Arial"/>
          <a:ea typeface="+mn-ea"/>
          <a:cs typeface="Arial"/>
          <a:sym typeface="Helvetica" charset="0"/>
        </a:defRPr>
      </a:lvl4pPr>
      <a:lvl5pPr marL="1792729" indent="-353466" algn="l" rtl="0" eaLnBrk="1" fontAlgn="base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80000"/>
        <a:buFontTx/>
        <a:buBlip>
          <a:blip r:embed="rId15"/>
        </a:buBlip>
        <a:tabLst/>
        <a:defRPr sz="1067" b="0" i="0">
          <a:solidFill>
            <a:schemeClr val="tx1"/>
          </a:solidFill>
          <a:latin typeface="Arial"/>
          <a:ea typeface="+mn-ea"/>
          <a:cs typeface="Arial"/>
          <a:sym typeface="Helvetica" charset="0"/>
        </a:defRPr>
      </a:lvl5pPr>
      <a:lvl6pPr marL="476111" indent="-247578" algn="l" rtl="0" eaLnBrk="1" fontAlgn="base" hangingPunct="1">
        <a:spcBef>
          <a:spcPts val="1000"/>
        </a:spcBef>
        <a:spcAft>
          <a:spcPct val="0"/>
        </a:spcAft>
        <a:buSzPct val="3400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Helvetica" charset="0"/>
        </a:defRPr>
      </a:lvl6pPr>
      <a:lvl7pPr marL="704646" indent="-247578" algn="l" rtl="0" eaLnBrk="1" fontAlgn="base" hangingPunct="1">
        <a:spcBef>
          <a:spcPts val="1000"/>
        </a:spcBef>
        <a:spcAft>
          <a:spcPct val="0"/>
        </a:spcAft>
        <a:buSzPct val="3400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Helvetica" charset="0"/>
        </a:defRPr>
      </a:lvl7pPr>
      <a:lvl8pPr marL="933179" indent="-247578" algn="l" rtl="0" eaLnBrk="1" fontAlgn="base" hangingPunct="1">
        <a:spcBef>
          <a:spcPts val="1000"/>
        </a:spcBef>
        <a:spcAft>
          <a:spcPct val="0"/>
        </a:spcAft>
        <a:buSzPct val="3400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Helvetica" charset="0"/>
        </a:defRPr>
      </a:lvl8pPr>
      <a:lvl9pPr marL="1161714" indent="-247578" algn="l" rtl="0" eaLnBrk="1" fontAlgn="base" hangingPunct="1">
        <a:spcBef>
          <a:spcPts val="1000"/>
        </a:spcBef>
        <a:spcAft>
          <a:spcPct val="0"/>
        </a:spcAft>
        <a:buSzPct val="3400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Helvetica" charset="0"/>
        </a:defRPr>
      </a:lvl9pPr>
    </p:bodyStyle>
    <p:otherStyle>
      <a:defPPr>
        <a:defRPr lang="en-US"/>
      </a:defPPr>
      <a:lvl1pPr marL="0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36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2pPr>
      <a:lvl3pPr marL="457067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685602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134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669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200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7pPr>
      <a:lvl8pPr marL="1599735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269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1581152" y="607485"/>
            <a:ext cx="9245599" cy="827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err="1">
                <a:sym typeface="Helvetica" charset="0"/>
              </a:rPr>
              <a:t>Telenet</a:t>
            </a:r>
            <a:r>
              <a:rPr lang="en-US">
                <a:sym typeface="Helvetica" charset="0"/>
              </a:rPr>
              <a:t> White</a:t>
            </a:r>
          </a:p>
        </p:txBody>
      </p:sp>
      <p:sp>
        <p:nvSpPr>
          <p:cNvPr id="1024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587503" y="1435100"/>
            <a:ext cx="9239248" cy="4927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>
                <a:sym typeface="Helvetica" charset="0"/>
              </a:rPr>
              <a:t>First level</a:t>
            </a:r>
          </a:p>
          <a:p>
            <a:pPr lvl="1"/>
            <a:r>
              <a:rPr lang="en-US">
                <a:sym typeface="Helvetica" charset="0"/>
              </a:rPr>
              <a:t>Second level</a:t>
            </a:r>
          </a:p>
          <a:p>
            <a:pPr lvl="2"/>
            <a:r>
              <a:rPr lang="en-US">
                <a:sym typeface="Helvetica" charset="0"/>
              </a:rPr>
              <a:t>Third level</a:t>
            </a:r>
          </a:p>
          <a:p>
            <a:pPr lvl="3"/>
            <a:r>
              <a:rPr lang="en-US">
                <a:sym typeface="Helvetica" charset="0"/>
              </a:rPr>
              <a:t>Fourth level</a:t>
            </a:r>
          </a:p>
          <a:p>
            <a:pPr lvl="4"/>
            <a:r>
              <a:rPr lang="en-US">
                <a:sym typeface="Helvetica" charset="0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5655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</p:sldLayoutIdLst>
  <p:transition/>
  <p:hf hdr="0" ftr="0" dt="0"/>
  <p:txStyles>
    <p:titleStyle>
      <a:lvl1pPr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defRPr sz="2667" b="1" i="0" baseline="0">
          <a:solidFill>
            <a:schemeClr val="tx1"/>
          </a:solidFill>
          <a:latin typeface="Arial"/>
          <a:ea typeface="+mj-ea"/>
          <a:cs typeface="Arial"/>
          <a:sym typeface="Helvetica" charset="0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717171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717171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717171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717171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5pPr>
      <a:lvl6pPr marL="228536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505050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6pPr>
      <a:lvl7pPr marL="457067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505050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7pPr>
      <a:lvl8pPr marL="685602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505050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8pPr>
      <a:lvl9pPr marL="914134"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6133" b="1">
          <a:solidFill>
            <a:srgbClr val="505050"/>
          </a:solidFill>
          <a:latin typeface="Helvetica" charset="0"/>
          <a:ea typeface="ヒラギノ角ゴ ProN W6" charset="0"/>
          <a:cs typeface="ヒラギノ角ゴ ProN W6" charset="0"/>
          <a:sym typeface="Helvetica" charset="0"/>
        </a:defRPr>
      </a:lvl9pPr>
    </p:titleStyle>
    <p:bodyStyle>
      <a:lvl1pPr marL="355582" indent="-355582" algn="l" rtl="0" eaLnBrk="1" fontAlgn="base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80000"/>
        <a:buFontTx/>
        <a:buBlip>
          <a:blip r:embed="rId7"/>
        </a:buBlip>
        <a:defRPr sz="1867" b="0" i="0">
          <a:solidFill>
            <a:schemeClr val="tx1"/>
          </a:solidFill>
          <a:latin typeface="Arial"/>
          <a:ea typeface="+mn-ea"/>
          <a:cs typeface="Arial"/>
          <a:sym typeface="Helvetica" charset="0"/>
        </a:defRPr>
      </a:lvl1pPr>
      <a:lvl2pPr marL="721749" indent="-364050" algn="l" rtl="0" eaLnBrk="1" fontAlgn="base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80000"/>
        <a:buFontTx/>
        <a:buBlip>
          <a:blip r:embed="rId7"/>
        </a:buBlip>
        <a:defRPr sz="1600" b="0" i="0">
          <a:solidFill>
            <a:schemeClr val="tx1"/>
          </a:solidFill>
          <a:latin typeface="Arial"/>
          <a:ea typeface="+mn-ea"/>
          <a:cs typeface="Arial"/>
          <a:sym typeface="Helvetica" charset="0"/>
        </a:defRPr>
      </a:lvl2pPr>
      <a:lvl3pPr marL="1075213" indent="-353466" algn="l" rtl="0" eaLnBrk="1" fontAlgn="base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80000"/>
        <a:buFontTx/>
        <a:buBlip>
          <a:blip r:embed="rId7"/>
        </a:buBlip>
        <a:tabLst/>
        <a:defRPr sz="1600" b="0" i="0">
          <a:solidFill>
            <a:schemeClr val="tx1"/>
          </a:solidFill>
          <a:latin typeface="Arial"/>
          <a:ea typeface="+mn-ea"/>
          <a:cs typeface="Arial"/>
          <a:sym typeface="Helvetica" charset="0"/>
        </a:defRPr>
      </a:lvl3pPr>
      <a:lvl4pPr marL="1432912" indent="-357699" algn="l" rtl="0" eaLnBrk="1" fontAlgn="base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80000"/>
        <a:buFontTx/>
        <a:buBlip>
          <a:blip r:embed="rId7"/>
        </a:buBlip>
        <a:tabLst/>
        <a:defRPr sz="1333" b="0" i="0">
          <a:solidFill>
            <a:schemeClr val="tx1"/>
          </a:solidFill>
          <a:latin typeface="Arial"/>
          <a:ea typeface="+mn-ea"/>
          <a:cs typeface="Arial"/>
          <a:sym typeface="Helvetica" charset="0"/>
        </a:defRPr>
      </a:lvl4pPr>
      <a:lvl5pPr marL="1792729" indent="-353466" algn="l" rtl="0" eaLnBrk="1" fontAlgn="base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SzPct val="80000"/>
        <a:buFontTx/>
        <a:buBlip>
          <a:blip r:embed="rId7"/>
        </a:buBlip>
        <a:tabLst/>
        <a:defRPr sz="1067" b="0" i="0">
          <a:solidFill>
            <a:schemeClr val="tx1"/>
          </a:solidFill>
          <a:latin typeface="Arial"/>
          <a:ea typeface="+mn-ea"/>
          <a:cs typeface="Arial"/>
          <a:sym typeface="Helvetica" charset="0"/>
        </a:defRPr>
      </a:lvl5pPr>
      <a:lvl6pPr marL="476111" indent="-247578" algn="l" rtl="0" eaLnBrk="1" fontAlgn="base" hangingPunct="1">
        <a:spcBef>
          <a:spcPts val="1000"/>
        </a:spcBef>
        <a:spcAft>
          <a:spcPct val="0"/>
        </a:spcAft>
        <a:buSzPct val="3400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Helvetica" charset="0"/>
        </a:defRPr>
      </a:lvl6pPr>
      <a:lvl7pPr marL="704646" indent="-247578" algn="l" rtl="0" eaLnBrk="1" fontAlgn="base" hangingPunct="1">
        <a:spcBef>
          <a:spcPts val="1000"/>
        </a:spcBef>
        <a:spcAft>
          <a:spcPct val="0"/>
        </a:spcAft>
        <a:buSzPct val="3400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Helvetica" charset="0"/>
        </a:defRPr>
      </a:lvl7pPr>
      <a:lvl8pPr marL="933179" indent="-247578" algn="l" rtl="0" eaLnBrk="1" fontAlgn="base" hangingPunct="1">
        <a:spcBef>
          <a:spcPts val="1000"/>
        </a:spcBef>
        <a:spcAft>
          <a:spcPct val="0"/>
        </a:spcAft>
        <a:buSzPct val="3400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Helvetica" charset="0"/>
        </a:defRPr>
      </a:lvl8pPr>
      <a:lvl9pPr marL="1161714" indent="-247578" algn="l" rtl="0" eaLnBrk="1" fontAlgn="base" hangingPunct="1">
        <a:spcBef>
          <a:spcPts val="1000"/>
        </a:spcBef>
        <a:spcAft>
          <a:spcPct val="0"/>
        </a:spcAft>
        <a:buSzPct val="3400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Helvetica" charset="0"/>
        </a:defRPr>
      </a:lvl9pPr>
    </p:bodyStyle>
    <p:otherStyle>
      <a:defPPr>
        <a:defRPr lang="en-US"/>
      </a:defPPr>
      <a:lvl1pPr marL="0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36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2pPr>
      <a:lvl3pPr marL="457067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685602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134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669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200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7pPr>
      <a:lvl8pPr marL="1599735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269" algn="l" defTabSz="228536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6801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  <p:sldLayoutId id="2147483790" r:id="rId39"/>
    <p:sldLayoutId id="2147483791" r:id="rId40"/>
    <p:sldLayoutId id="2147483792" r:id="rId41"/>
    <p:sldLayoutId id="2147483793" r:id="rId42"/>
    <p:sldLayoutId id="2147483794" r:id="rId43"/>
    <p:sldLayoutId id="2147483795" r:id="rId44"/>
    <p:sldLayoutId id="2147483796" r:id="rId45"/>
    <p:sldLayoutId id="2147483797" r:id="rId46"/>
    <p:sldLayoutId id="2147483798" r:id="rId47"/>
    <p:sldLayoutId id="2147483799" r:id="rId48"/>
    <p:sldLayoutId id="2147483800" r:id="rId49"/>
    <p:sldLayoutId id="2147483801" r:id="rId50"/>
    <p:sldLayoutId id="2147483802" r:id="rId51"/>
    <p:sldLayoutId id="2147483803" r:id="rId52"/>
    <p:sldLayoutId id="2147483804" r:id="rId53"/>
    <p:sldLayoutId id="2147483805" r:id="rId54"/>
    <p:sldLayoutId id="2147483806" r:id="rId55"/>
    <p:sldLayoutId id="2147483807" r:id="rId56"/>
    <p:sldLayoutId id="2147483808" r:id="rId57"/>
    <p:sldLayoutId id="2147483809" r:id="rId58"/>
    <p:sldLayoutId id="2147483810" r:id="rId59"/>
    <p:sldLayoutId id="2147483811" r:id="rId60"/>
    <p:sldLayoutId id="2147483812" r:id="rId61"/>
    <p:sldLayoutId id="2147483813" r:id="rId62"/>
    <p:sldLayoutId id="2147483814" r:id="rId63"/>
    <p:sldLayoutId id="2147483815" r:id="rId64"/>
    <p:sldLayoutId id="2147483816" r:id="rId65"/>
    <p:sldLayoutId id="2147483817" r:id="rId66"/>
    <p:sldLayoutId id="2147483854" r:id="rId67"/>
    <p:sldLayoutId id="2147483855" r:id="rId68"/>
    <p:sldLayoutId id="2147483856" r:id="rId69"/>
    <p:sldLayoutId id="2147483857" r:id="rId70"/>
    <p:sldLayoutId id="2147483858" r:id="rId71"/>
    <p:sldLayoutId id="2147483859" r:id="rId72"/>
    <p:sldLayoutId id="2147483860" r:id="rId73"/>
    <p:sldLayoutId id="2147483861" r:id="rId74"/>
  </p:sldLayoutIdLst>
  <p:txStyles>
    <p:titleStyle>
      <a:lvl1pPr algn="ctr" defTabSz="609331" rtl="0" eaLnBrk="1" fontAlgn="base" hangingPunct="1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609331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2pPr>
      <a:lvl3pPr algn="ctr" defTabSz="609331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3pPr>
      <a:lvl4pPr algn="ctr" defTabSz="609331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4pPr>
      <a:lvl5pPr algn="ctr" defTabSz="609331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5pPr>
      <a:lvl6pPr marL="609331" algn="ctr" defTabSz="609331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6pPr>
      <a:lvl7pPr marL="1218690" algn="ctr" defTabSz="609331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7pPr>
      <a:lvl8pPr marL="1828029" algn="ctr" defTabSz="609331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8pPr>
      <a:lvl9pPr marL="2437378" algn="ctr" defTabSz="609331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9pPr>
    </p:titleStyle>
    <p:bodyStyle>
      <a:lvl1pPr marL="456999" indent="-456999" algn="l" defTabSz="609331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4267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990190" indent="-380841" algn="l" defTabSz="609331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3733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523355" indent="-304664" algn="l" defTabSz="609331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2132693" indent="-304664" algn="l" defTabSz="609331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67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742042" indent="-304664" algn="l" defTabSz="609331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667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351372" indent="-304664" algn="l" defTabSz="609331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0722" indent="-304664" algn="l" defTabSz="609331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0062" indent="-304664" algn="l" defTabSz="609331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79401" indent="-304664" algn="l" defTabSz="609331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3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31" algn="l" defTabSz="6093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90" algn="l" defTabSz="6093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029" algn="l" defTabSz="6093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78" algn="l" defTabSz="6093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708" algn="l" defTabSz="6093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039" algn="l" defTabSz="6093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387" algn="l" defTabSz="6093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727" algn="l" defTabSz="6093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70860625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1166326" y="5916775"/>
            <a:ext cx="874268" cy="7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552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</p:sldLayoutIdLst>
  <p:hf hdr="0" ftr="0" dt="0"/>
  <p:txStyles>
    <p:titleStyle>
      <a:lvl1pPr algn="ctr" defTabSz="609570" rtl="0" eaLnBrk="1" fontAlgn="base" hangingPunct="1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2pPr>
      <a:lvl3pPr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3pPr>
      <a:lvl4pPr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4pPr>
      <a:lvl5pPr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5pPr>
      <a:lvl6pPr marL="609570"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6pPr>
      <a:lvl7pPr marL="1219140"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7pPr>
      <a:lvl8pPr marL="1828709"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8pPr>
      <a:lvl9pPr marL="2438278"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9pPr>
    </p:titleStyle>
    <p:bodyStyle>
      <a:lvl1pPr marL="457178" indent="-457178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4267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990550" indent="-380981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3733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523925" indent="-304784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2133493" indent="-304784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67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743062" indent="-304784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667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8777447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1166326" y="5916775"/>
            <a:ext cx="874268" cy="79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654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</p:sldLayoutIdLst>
  <p:hf hdr="0" ftr="0" dt="0"/>
  <p:txStyles>
    <p:titleStyle>
      <a:lvl1pPr algn="ctr" defTabSz="609570" rtl="0" eaLnBrk="1" fontAlgn="base" hangingPunct="1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2pPr>
      <a:lvl3pPr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3pPr>
      <a:lvl4pPr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4pPr>
      <a:lvl5pPr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5pPr>
      <a:lvl6pPr marL="609570"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6pPr>
      <a:lvl7pPr marL="1219140"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7pPr>
      <a:lvl8pPr marL="1828709"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8pPr>
      <a:lvl9pPr marL="2438278" algn="ctr" defTabSz="609570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OmnesMSC Semibold" charset="0"/>
          <a:ea typeface="ＭＳ Ｐゴシック" charset="0"/>
          <a:cs typeface="ＭＳ Ｐゴシック" charset="0"/>
        </a:defRPr>
      </a:lvl9pPr>
    </p:titleStyle>
    <p:bodyStyle>
      <a:lvl1pPr marL="457178" indent="-457178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4267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990550" indent="-380981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3733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523925" indent="-304784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2133493" indent="-304784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67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743062" indent="-304784" algn="l" defTabSz="60957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667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550863" y="6356350"/>
            <a:ext cx="79333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10599" y="6356350"/>
            <a:ext cx="30305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40EAE7-2006-FD41-87A6-F6B6041694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5193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4" r:id="rId1"/>
    <p:sldLayoutId id="2147484005" r:id="rId2"/>
    <p:sldLayoutId id="2147484006" r:id="rId3"/>
    <p:sldLayoutId id="2147484007" r:id="rId4"/>
    <p:sldLayoutId id="2147484008" r:id="rId5"/>
    <p:sldLayoutId id="2147484009" r:id="rId6"/>
    <p:sldLayoutId id="2147484010" r:id="rId7"/>
    <p:sldLayoutId id="2147484011" r:id="rId8"/>
    <p:sldLayoutId id="2147484012" r:id="rId9"/>
    <p:sldLayoutId id="2147484013" r:id="rId10"/>
    <p:sldLayoutId id="2147484014" r:id="rId11"/>
    <p:sldLayoutId id="2147484015" r:id="rId12"/>
    <p:sldLayoutId id="2147484016" r:id="rId13"/>
    <p:sldLayoutId id="2147484017" r:id="rId14"/>
    <p:sldLayoutId id="2147484018" r:id="rId15"/>
    <p:sldLayoutId id="2147484019" r:id="rId16"/>
    <p:sldLayoutId id="2147484020" r:id="rId17"/>
    <p:sldLayoutId id="2147484021" r:id="rId18"/>
    <p:sldLayoutId id="2147484022" r:id="rId19"/>
    <p:sldLayoutId id="2147484023" r:id="rId20"/>
    <p:sldLayoutId id="2147484024" r:id="rId21"/>
    <p:sldLayoutId id="2147484025" r:id="rId22"/>
    <p:sldLayoutId id="2147484026" r:id="rId23"/>
    <p:sldLayoutId id="2147484027" r:id="rId24"/>
    <p:sldLayoutId id="2147484028" r:id="rId25"/>
    <p:sldLayoutId id="2147484029" r:id="rId26"/>
    <p:sldLayoutId id="2147484030" r:id="rId27"/>
    <p:sldLayoutId id="2147484031" r:id="rId28"/>
    <p:sldLayoutId id="2147484032" r:id="rId29"/>
    <p:sldLayoutId id="2147484033" r:id="rId30"/>
    <p:sldLayoutId id="2147484034" r:id="rId31"/>
    <p:sldLayoutId id="2147484035" r:id="rId32"/>
    <p:sldLayoutId id="2147484036" r:id="rId33"/>
    <p:sldLayoutId id="2147484037" r:id="rId34"/>
    <p:sldLayoutId id="2147484038" r:id="rId35"/>
    <p:sldLayoutId id="2147484039" r:id="rId36"/>
    <p:sldLayoutId id="2147484040" r:id="rId37"/>
    <p:sldLayoutId id="2147484041" r:id="rId38"/>
    <p:sldLayoutId id="2147484042" r:id="rId39"/>
    <p:sldLayoutId id="2147484043" r:id="rId40"/>
    <p:sldLayoutId id="2147484044" r:id="rId41"/>
    <p:sldLayoutId id="2147484045" r:id="rId42"/>
    <p:sldLayoutId id="2147484046" r:id="rId43"/>
    <p:sldLayoutId id="2147484047" r:id="rId44"/>
    <p:sldLayoutId id="2147484048" r:id="rId45"/>
    <p:sldLayoutId id="2147484049" r:id="rId46"/>
    <p:sldLayoutId id="2147484050" r:id="rId47"/>
    <p:sldLayoutId id="2147484051" r:id="rId48"/>
    <p:sldLayoutId id="2147484052" r:id="rId49"/>
    <p:sldLayoutId id="2147484053" r:id="rId50"/>
    <p:sldLayoutId id="2147484054" r:id="rId51"/>
    <p:sldLayoutId id="2147484055" r:id="rId52"/>
    <p:sldLayoutId id="2147484056" r:id="rId53"/>
    <p:sldLayoutId id="2147484057" r:id="rId54"/>
    <p:sldLayoutId id="2147484058" r:id="rId55"/>
    <p:sldLayoutId id="2147484059" r:id="rId56"/>
    <p:sldLayoutId id="2147484060" r:id="rId57"/>
    <p:sldLayoutId id="2147484061" r:id="rId58"/>
    <p:sldLayoutId id="2147484062" r:id="rId59"/>
    <p:sldLayoutId id="2147484063" r:id="rId60"/>
    <p:sldLayoutId id="2147484064" r:id="rId61"/>
    <p:sldLayoutId id="2147484065" r:id="rId62"/>
    <p:sldLayoutId id="2147484066" r:id="rId63"/>
    <p:sldLayoutId id="2147484067" r:id="rId64"/>
    <p:sldLayoutId id="2147484068" r:id="rId65"/>
    <p:sldLayoutId id="2147484069" r:id="rId66"/>
    <p:sldLayoutId id="2147484070" r:id="rId67"/>
    <p:sldLayoutId id="2147484071" r:id="rId68"/>
    <p:sldLayoutId id="2147484072" r:id="rId69"/>
    <p:sldLayoutId id="2147484073" r:id="rId70"/>
    <p:sldLayoutId id="2147484074" r:id="rId71"/>
    <p:sldLayoutId id="2147484075" r:id="rId72"/>
    <p:sldLayoutId id="2147484076" r:id="rId73"/>
    <p:sldLayoutId id="2147484077" r:id="rId74"/>
    <p:sldLayoutId id="2147484078" r:id="rId75"/>
    <p:sldLayoutId id="2147484079" r:id="rId76"/>
    <p:sldLayoutId id="2147484080" r:id="rId77"/>
    <p:sldLayoutId id="2147484081" r:id="rId78"/>
    <p:sldLayoutId id="2147484082" r:id="rId79"/>
    <p:sldLayoutId id="2147484083" r:id="rId80"/>
    <p:sldLayoutId id="2147484084" r:id="rId81"/>
    <p:sldLayoutId id="2147484085" r:id="rId82"/>
    <p:sldLayoutId id="2147484086" r:id="rId83"/>
    <p:sldLayoutId id="2147484087" r:id="rId84"/>
    <p:sldLayoutId id="2147484088" r:id="rId85"/>
    <p:sldLayoutId id="2147484089" r:id="rId86"/>
    <p:sldLayoutId id="2147484090" r:id="rId87"/>
    <p:sldLayoutId id="2147484091" r:id="rId88"/>
    <p:sldLayoutId id="2147484092" r:id="rId89"/>
    <p:sldLayoutId id="2147484093" r:id="rId90"/>
    <p:sldLayoutId id="2147484094" r:id="rId91"/>
    <p:sldLayoutId id="2147484095" r:id="rId92"/>
    <p:sldLayoutId id="2147484096" r:id="rId93"/>
    <p:sldLayoutId id="2147484097" r:id="rId94"/>
    <p:sldLayoutId id="2147484098" r:id="rId95"/>
    <p:sldLayoutId id="2147484099" r:id="rId96"/>
    <p:sldLayoutId id="2147484100" r:id="rId97"/>
    <p:sldLayoutId id="2147484101" r:id="rId98"/>
    <p:sldLayoutId id="2147484102" r:id="rId99"/>
    <p:sldLayoutId id="2147484103" r:id="rId100"/>
    <p:sldLayoutId id="2147484104" r:id="rId101"/>
    <p:sldLayoutId id="2147484105" r:id="rId102"/>
    <p:sldLayoutId id="2147484106" r:id="rId103"/>
    <p:sldLayoutId id="2147484107" r:id="rId104"/>
    <p:sldLayoutId id="2147484108" r:id="rId105"/>
    <p:sldLayoutId id="2147484109" r:id="rId106"/>
    <p:sldLayoutId id="2147484110" r:id="rId107"/>
    <p:sldLayoutId id="2147484111" r:id="rId108"/>
    <p:sldLayoutId id="2147484112" r:id="rId109"/>
    <p:sldLayoutId id="2147484113" r:id="rId110"/>
    <p:sldLayoutId id="2147484114" r:id="rId111"/>
    <p:sldLayoutId id="2147484115" r:id="rId112"/>
    <p:sldLayoutId id="2147484116" r:id="rId113"/>
    <p:sldLayoutId id="2147484117" r:id="rId114"/>
    <p:sldLayoutId id="2147484118" r:id="rId115"/>
    <p:sldLayoutId id="2147484119" r:id="rId116"/>
    <p:sldLayoutId id="2147484120" r:id="rId117"/>
    <p:sldLayoutId id="2147484121" r:id="rId118"/>
    <p:sldLayoutId id="2147484122" r:id="rId119"/>
    <p:sldLayoutId id="2147484123" r:id="rId120"/>
    <p:sldLayoutId id="2147484124" r:id="rId121"/>
    <p:sldLayoutId id="2147484125" r:id="rId122"/>
    <p:sldLayoutId id="2147484126" r:id="rId123"/>
    <p:sldLayoutId id="2147484127" r:id="rId124"/>
    <p:sldLayoutId id="2147484128" r:id="rId125"/>
    <p:sldLayoutId id="2147484129" r:id="rId126"/>
    <p:sldLayoutId id="2147484130" r:id="rId127"/>
    <p:sldLayoutId id="2147484131" r:id="rId128"/>
    <p:sldLayoutId id="2147484132" r:id="rId129"/>
    <p:sldLayoutId id="2147484133" r:id="rId130"/>
    <p:sldLayoutId id="2147484134" r:id="rId131"/>
    <p:sldLayoutId id="2147484135" r:id="rId132"/>
    <p:sldLayoutId id="2147484136" r:id="rId133"/>
    <p:sldLayoutId id="2147484137" r:id="rId134"/>
    <p:sldLayoutId id="2147484138" r:id="rId135"/>
    <p:sldLayoutId id="2147484139" r:id="rId136"/>
    <p:sldLayoutId id="2147484140" r:id="rId137"/>
    <p:sldLayoutId id="2147484141" r:id="rId138"/>
    <p:sldLayoutId id="2147484142" r:id="rId139"/>
    <p:sldLayoutId id="2147484143" r:id="rId14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orient="horz" pos="3974">
          <p15:clr>
            <a:srgbClr val="F26B43"/>
          </p15:clr>
        </p15:guide>
        <p15:guide id="5" pos="7333">
          <p15:clr>
            <a:srgbClr val="F26B43"/>
          </p15:clr>
        </p15:guide>
        <p15:guide id="6" orient="horz" pos="216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215637" y="506441"/>
            <a:ext cx="7760724" cy="15696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200" b="1" i="0">
                <a:solidFill>
                  <a:schemeClr val="bg1"/>
                </a:solidFill>
                <a:latin typeface="BloomSpeakTitle-UltraHeavy"/>
                <a:cs typeface="BloomSpeakTitle-UltraHeavy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34206" y="1558816"/>
            <a:ext cx="730364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540845" y="6401251"/>
            <a:ext cx="390483" cy="3334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22" b="0" i="0">
                <a:solidFill>
                  <a:srgbClr val="A09FA0"/>
                </a:solidFill>
                <a:latin typeface="BloomSpeakTitle-Medium"/>
                <a:cs typeface="BloomSpeakTitle-Medium"/>
              </a:defRPr>
            </a:lvl1pPr>
          </a:lstStyle>
          <a:p>
            <a:pPr marL="7701">
              <a:lnSpc>
                <a:spcPts val="1310"/>
              </a:lnSpc>
            </a:pPr>
            <a:r>
              <a:rPr lang="nl-BE" spc="39">
                <a:solidFill>
                  <a:srgbClr val="FFFFFF"/>
                </a:solidFill>
              </a:rPr>
              <a:t>H</a:t>
            </a:r>
            <a:r>
              <a:rPr lang="nl-BE" spc="36">
                <a:solidFill>
                  <a:srgbClr val="FFFFFF"/>
                </a:solidFill>
              </a:rPr>
              <a:t>OM</a:t>
            </a:r>
            <a:r>
              <a:rPr lang="nl-BE" spc="9">
                <a:solidFill>
                  <a:srgbClr val="FFFFFF"/>
                </a:solidFill>
              </a:rPr>
              <a:t>E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1363042" y="6400959"/>
            <a:ext cx="452098" cy="3334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22" b="0" i="0">
                <a:solidFill>
                  <a:srgbClr val="B3B3B4"/>
                </a:solidFill>
                <a:latin typeface="BloomSpeakTitle-Medium"/>
                <a:cs typeface="BloomSpeakTitle-Medium"/>
              </a:defRPr>
            </a:lvl1pPr>
          </a:lstStyle>
          <a:p>
            <a:pPr marL="7701">
              <a:lnSpc>
                <a:spcPts val="1310"/>
              </a:lnSpc>
            </a:pPr>
            <a:r>
              <a:rPr lang="nl-BE" spc="115"/>
              <a:t>T</a:t>
            </a:r>
            <a:r>
              <a:rPr lang="nl-BE" spc="88"/>
              <a:t>E</a:t>
            </a:r>
            <a:r>
              <a:rPr lang="nl-BE" spc="106"/>
              <a:t>R</a:t>
            </a:r>
            <a:r>
              <a:rPr lang="nl-BE" spc="112"/>
              <a:t>U</a:t>
            </a:r>
            <a:r>
              <a:rPr lang="nl-BE" spc="12"/>
              <a:t>G</a:t>
            </a: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1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02734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6" r:id="rId1"/>
    <p:sldLayoutId id="2147484147" r:id="rId2"/>
    <p:sldLayoutId id="2147484148" r:id="rId3"/>
    <p:sldLayoutId id="2147484149" r:id="rId4"/>
    <p:sldLayoutId id="214748415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85.xml"/><Relationship Id="rId5" Type="http://schemas.openxmlformats.org/officeDocument/2006/relationships/image" Target="cid:13b180f4-d2f5-422e-83f6-dd36355c6fb2" TargetMode="External"/><Relationship Id="rId4" Type="http://schemas.openxmlformats.org/officeDocument/2006/relationships/image" Target="../media/image3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8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" Target="slide11.xml"/><Relationship Id="rId1" Type="http://schemas.openxmlformats.org/officeDocument/2006/relationships/slideLayout" Target="../slideLayouts/slideLayout18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" Target="slide11.xml"/><Relationship Id="rId3" Type="http://schemas.openxmlformats.org/officeDocument/2006/relationships/image" Target="cid:13b180f4-d2f5-422e-83f6-dd36355c6fb2" TargetMode="External"/><Relationship Id="rId7" Type="http://schemas.openxmlformats.org/officeDocument/2006/relationships/image" Target="cid:cb25c753-3e89-42a2-b9ca-7fd9a66c5266" TargetMode="External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185.xml"/><Relationship Id="rId6" Type="http://schemas.openxmlformats.org/officeDocument/2006/relationships/image" Target="../media/image39.jpeg"/><Relationship Id="rId5" Type="http://schemas.openxmlformats.org/officeDocument/2006/relationships/image" Target="cid:16200b01-ac65-40f4-a9f0-995d50616749" TargetMode="External"/><Relationship Id="rId4" Type="http://schemas.openxmlformats.org/officeDocument/2006/relationships/image" Target="../media/image38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" Target="slide11.xml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8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85.xml"/><Relationship Id="rId4" Type="http://schemas.openxmlformats.org/officeDocument/2006/relationships/slide" Target="slide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" Target="slide11.xml"/><Relationship Id="rId1" Type="http://schemas.openxmlformats.org/officeDocument/2006/relationships/slideLayout" Target="../slideLayouts/slideLayout18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" Target="slide11.xml"/><Relationship Id="rId3" Type="http://schemas.openxmlformats.org/officeDocument/2006/relationships/image" Target="cid:ca54c686-5e8a-4101-a36f-3db934b6bc30" TargetMode="External"/><Relationship Id="rId7" Type="http://schemas.openxmlformats.org/officeDocument/2006/relationships/image" Target="cid:13b180f4-d2f5-422e-83f6-dd36355c6fb2" TargetMode="External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185.xml"/><Relationship Id="rId6" Type="http://schemas.openxmlformats.org/officeDocument/2006/relationships/image" Target="../media/image37.jpeg"/><Relationship Id="rId5" Type="http://schemas.openxmlformats.org/officeDocument/2006/relationships/image" Target="cid:887924f6-ee56-4e86-912f-298912098ec1" TargetMode="External"/><Relationship Id="rId4" Type="http://schemas.openxmlformats.org/officeDocument/2006/relationships/image" Target="../media/image43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85.xml"/><Relationship Id="rId4" Type="http://schemas.openxmlformats.org/officeDocument/2006/relationships/slide" Target="slide1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" Target="slide11.xml"/><Relationship Id="rId1" Type="http://schemas.openxmlformats.org/officeDocument/2006/relationships/slideLayout" Target="../slideLayouts/slideLayout18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" Target="slide11.xml"/><Relationship Id="rId3" Type="http://schemas.openxmlformats.org/officeDocument/2006/relationships/image" Target="cid:f103acaa-e8d3-4b7f-9aa5-c651e6c3a3e4" TargetMode="External"/><Relationship Id="rId7" Type="http://schemas.openxmlformats.org/officeDocument/2006/relationships/image" Target="cid:13b180f4-d2f5-422e-83f6-dd36355c6fb2" TargetMode="External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185.xml"/><Relationship Id="rId6" Type="http://schemas.openxmlformats.org/officeDocument/2006/relationships/image" Target="../media/image37.jpeg"/><Relationship Id="rId5" Type="http://schemas.openxmlformats.org/officeDocument/2006/relationships/image" Target="cid:314d8117-8557-4cb7-ba16-157349922fde" TargetMode="External"/><Relationship Id="rId4" Type="http://schemas.openxmlformats.org/officeDocument/2006/relationships/image" Target="../media/image46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85.xml"/><Relationship Id="rId4" Type="http://schemas.openxmlformats.org/officeDocument/2006/relationships/slide" Target="slide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85.xml"/><Relationship Id="rId4" Type="http://schemas.openxmlformats.org/officeDocument/2006/relationships/slide" Target="slide1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" Target="slide11.xml"/><Relationship Id="rId1" Type="http://schemas.openxmlformats.org/officeDocument/2006/relationships/slideLayout" Target="../slideLayouts/slideLayout19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cid:258d2097-5041-4cef-8259-e69ddfd13f30" TargetMode="External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185.xml"/><Relationship Id="rId6" Type="http://schemas.openxmlformats.org/officeDocument/2006/relationships/slide" Target="slide11.xml"/><Relationship Id="rId5" Type="http://schemas.openxmlformats.org/officeDocument/2006/relationships/image" Target="cid:13b180f4-d2f5-422e-83f6-dd36355c6fb2" TargetMode="External"/><Relationship Id="rId4" Type="http://schemas.openxmlformats.org/officeDocument/2006/relationships/image" Target="../media/image50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85.xml"/><Relationship Id="rId4" Type="http://schemas.openxmlformats.org/officeDocument/2006/relationships/slide" Target="slide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2.telenet.be/business/nl/klantenservice/ucc/gebruiker" TargetMode="Externa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85.xml"/><Relationship Id="rId4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8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8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8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www2.telenet.be/business/nl/klantenservice/ucc/gebruiker" TargetMode="External"/><Relationship Id="rId1" Type="http://schemas.openxmlformats.org/officeDocument/2006/relationships/slideLayout" Target="../slideLayouts/slideLayout18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hyperlink" Target="https://www2.telenet.be/business/nl/klantenservice/ucc/gebruiker" TargetMode="External"/><Relationship Id="rId1" Type="http://schemas.openxmlformats.org/officeDocument/2006/relationships/slideLayout" Target="../slideLayouts/slideLayout18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8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56ECB54-14D5-444D-B4BD-745F106E367E}"/>
              </a:ext>
            </a:extLst>
          </p:cNvPr>
          <p:cNvSpPr txBox="1">
            <a:spLocks/>
          </p:cNvSpPr>
          <p:nvPr/>
        </p:nvSpPr>
        <p:spPr>
          <a:xfrm>
            <a:off x="6274654" y="918460"/>
            <a:ext cx="6169556" cy="45134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None/>
              <a:defRPr sz="2933" b="1" kern="1200" cap="all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933" b="1" i="0" u="none" strike="noStrike" kern="1200" cap="all" spc="0" normalizeH="0" baseline="0" noProof="0">
                <a:ln>
                  <a:noFill/>
                </a:ln>
                <a:solidFill>
                  <a:srgbClr val="239A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lenet Business Mobile</a:t>
            </a:r>
            <a:endParaRPr kumimoji="0" lang="en-GB" sz="2933" b="1" i="0" u="none" strike="noStrike" kern="1200" cap="all" spc="0" normalizeH="0" baseline="0" noProof="0" dirty="0">
              <a:ln>
                <a:noFill/>
              </a:ln>
              <a:solidFill>
                <a:srgbClr val="239A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1D7425-58F0-41DE-8584-6CC6AACAA728}"/>
              </a:ext>
            </a:extLst>
          </p:cNvPr>
          <p:cNvSpPr txBox="1"/>
          <p:nvPr/>
        </p:nvSpPr>
        <p:spPr>
          <a:xfrm>
            <a:off x="6402251" y="1677964"/>
            <a:ext cx="4212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ntroduction to Online Tools for Fleet User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6A6104E-8C64-4F83-BE38-B8E9FA0CEA59}"/>
              </a:ext>
            </a:extLst>
          </p:cNvPr>
          <p:cNvSpPr/>
          <p:nvPr/>
        </p:nvSpPr>
        <p:spPr>
          <a:xfrm>
            <a:off x="10955215" y="6242538"/>
            <a:ext cx="562708" cy="45134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3FE14E-46BD-0A4A-B6BF-197B808DA1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BE"/>
              <a:t>How to </a:t>
            </a:r>
            <a:r>
              <a:rPr lang="en-US"/>
              <a:t>Set up the Telenet App </a:t>
            </a:r>
            <a:r>
              <a:rPr lang="en-BE"/>
              <a:t>?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CF2FE34-BCE2-4F77-912F-2B17033DCF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8800" y="1537199"/>
            <a:ext cx="4837884" cy="4771525"/>
          </a:xfrm>
        </p:spPr>
        <p:txBody>
          <a:bodyPr/>
          <a:lstStyle/>
          <a:p>
            <a:endParaRPr lang="en-US" sz="1600" dirty="0"/>
          </a:p>
          <a:p>
            <a:r>
              <a:rPr lang="en-US" sz="1600" dirty="0"/>
              <a:t>Open the Telenet App</a:t>
            </a:r>
          </a:p>
          <a:p>
            <a:endParaRPr lang="en-US" sz="1600" dirty="0"/>
          </a:p>
          <a:p>
            <a:r>
              <a:rPr lang="en-US" sz="1600" dirty="0"/>
              <a:t>Click on ‘Meld je </a:t>
            </a:r>
            <a:r>
              <a:rPr lang="en-US" sz="1600" dirty="0" err="1"/>
              <a:t>aan</a:t>
            </a:r>
            <a:r>
              <a:rPr lang="en-US" sz="1600" dirty="0"/>
              <a:t>’</a:t>
            </a:r>
          </a:p>
          <a:p>
            <a:endParaRPr lang="en-US" sz="1600" dirty="0"/>
          </a:p>
          <a:p>
            <a:r>
              <a:rPr lang="en-US" sz="1600" dirty="0"/>
              <a:t>Enter your credentials</a:t>
            </a:r>
          </a:p>
          <a:p>
            <a:endParaRPr lang="en-US" sz="1600" dirty="0"/>
          </a:p>
          <a:p>
            <a:r>
              <a:rPr lang="en-US" sz="1600" dirty="0"/>
              <a:t>Click ‘</a:t>
            </a:r>
            <a:r>
              <a:rPr lang="en-US" sz="1600" dirty="0" err="1"/>
              <a:t>Aanmelden</a:t>
            </a:r>
            <a:r>
              <a:rPr lang="en-US" sz="1600" dirty="0"/>
              <a:t>’</a:t>
            </a:r>
          </a:p>
          <a:p>
            <a:endParaRPr lang="en-US" sz="1600" dirty="0"/>
          </a:p>
          <a:p>
            <a:pPr marL="0" indent="0">
              <a:buNone/>
            </a:pPr>
            <a:endParaRPr lang="en-US" sz="1600" dirty="0"/>
          </a:p>
          <a:p>
            <a:pPr marL="457200" lvl="1" indent="0">
              <a:buNone/>
            </a:pPr>
            <a:endParaRPr lang="en-US" sz="1600" dirty="0"/>
          </a:p>
          <a:p>
            <a:endParaRPr lang="nl-BE" sz="1600" dirty="0"/>
          </a:p>
        </p:txBody>
      </p:sp>
      <p:pic>
        <p:nvPicPr>
          <p:cNvPr id="3" name="Picture 2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CF459171-E9C6-4C99-87AD-8E4F58DEFF6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2853" y="1288868"/>
            <a:ext cx="1694031" cy="36663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982B516C-E291-49EC-9DF9-78B68A8A08D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530" y="1288868"/>
            <a:ext cx="1694031" cy="36663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2" descr="Image">
            <a:extLst>
              <a:ext uri="{FF2B5EF4-FFF2-40B4-BE49-F238E27FC236}">
                <a16:creationId xmlns:a16="http://schemas.microsoft.com/office/drawing/2014/main" id="{33879DC7-B6F2-4878-B397-3977FE4084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r:link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4827" y="1288867"/>
            <a:ext cx="1691173" cy="36663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D2EFF7A6-FFED-4B37-A3C1-7E66A5B3C4EB}"/>
              </a:ext>
            </a:extLst>
          </p:cNvPr>
          <p:cNvSpPr/>
          <p:nvPr/>
        </p:nvSpPr>
        <p:spPr>
          <a:xfrm>
            <a:off x="457705" y="4211022"/>
            <a:ext cx="1694031" cy="564583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47C6CC4-2456-4EAB-9703-6328798D3946}"/>
              </a:ext>
            </a:extLst>
          </p:cNvPr>
          <p:cNvSpPr/>
          <p:nvPr/>
        </p:nvSpPr>
        <p:spPr>
          <a:xfrm>
            <a:off x="2412852" y="3112477"/>
            <a:ext cx="1694031" cy="316523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0615803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C6B5DB-169F-4A50-96D9-FA04EB5FA6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FFC000"/>
                </a:solidFill>
              </a:rPr>
              <a:t>My Telenet &amp; Telenet App Features</a:t>
            </a:r>
            <a:endParaRPr lang="en-BE" dirty="0">
              <a:solidFill>
                <a:srgbClr val="FFC000"/>
              </a:solidFill>
            </a:endParaRP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679C06B4-840A-46A1-A5A7-2DD3AA7793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9A7E9CD0-DE80-4A52-B177-7EAB564BC0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418609"/>
            <a:ext cx="56938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9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</a:t>
            </a:r>
            <a:endParaRPr kumimoji="0" lang="en-US" altLang="nl-B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35E57A78-C1B4-4A2A-8CD6-21F2E37C67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1347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nl-BE" altLang="nl-BE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nl-BE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7BA5B3FA-4227-412D-B163-970B114FBF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39684123"/>
              </p:ext>
            </p:extLst>
          </p:nvPr>
        </p:nvGraphicFramePr>
        <p:xfrm>
          <a:off x="1421674" y="1984063"/>
          <a:ext cx="9577252" cy="31701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4294979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73DAA07-2463-417A-9349-D3317AF9C7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onsult Usage</a:t>
            </a:r>
            <a:endParaRPr lang="nl-B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5D10B6-3B93-44C9-8DB8-7001F7368F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39AACF-95BF-400B-9A40-612BFB295E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l-BE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76EF140-1FE4-4DE1-94D3-6EFE310D627D}"/>
              </a:ext>
            </a:extLst>
          </p:cNvPr>
          <p:cNvGrpSpPr/>
          <p:nvPr/>
        </p:nvGrpSpPr>
        <p:grpSpPr>
          <a:xfrm>
            <a:off x="11394140" y="89648"/>
            <a:ext cx="699247" cy="712111"/>
            <a:chOff x="11071411" y="89647"/>
            <a:chExt cx="1021977" cy="1533541"/>
          </a:xfrm>
        </p:grpSpPr>
        <p:sp>
          <p:nvSpPr>
            <p:cNvPr id="6" name="Action Button: Home 4">
              <a:hlinkClick r:id="rId2" action="ppaction://hlinksldjump" highlightClick="1"/>
              <a:extLst>
                <a:ext uri="{FF2B5EF4-FFF2-40B4-BE49-F238E27FC236}">
                  <a16:creationId xmlns:a16="http://schemas.microsoft.com/office/drawing/2014/main" id="{E89E243F-31D1-426B-B26D-D8B27336265E}"/>
                </a:ext>
              </a:extLst>
            </p:cNvPr>
            <p:cNvSpPr/>
            <p:nvPr/>
          </p:nvSpPr>
          <p:spPr>
            <a:xfrm>
              <a:off x="11107271" y="89647"/>
              <a:ext cx="950258" cy="815788"/>
            </a:xfrm>
            <a:prstGeom prst="actionButtonHom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BE" sz="1200" dirty="0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6AECCD8-DE28-41DA-A0AB-B67327D01A82}"/>
                </a:ext>
              </a:extLst>
            </p:cNvPr>
            <p:cNvSpPr txBox="1"/>
            <p:nvPr/>
          </p:nvSpPr>
          <p:spPr>
            <a:xfrm>
              <a:off x="11071411" y="905434"/>
              <a:ext cx="1021977" cy="717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B</a:t>
              </a:r>
              <a:r>
                <a:rPr lang="en-BE" sz="1000"/>
                <a:t>ack to overvie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031401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C6B5DB-169F-4A50-96D9-FA04EB5FA6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Consult Usage  - Telenet App </a:t>
            </a:r>
            <a:endParaRPr lang="nl-BE"/>
          </a:p>
        </p:txBody>
      </p:sp>
      <p:pic>
        <p:nvPicPr>
          <p:cNvPr id="18434" name="Picture 2" descr="Image">
            <a:extLst>
              <a:ext uri="{FF2B5EF4-FFF2-40B4-BE49-F238E27FC236}">
                <a16:creationId xmlns:a16="http://schemas.microsoft.com/office/drawing/2014/main" id="{870446AA-8913-460F-A601-0165026564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634" y="1499563"/>
            <a:ext cx="2226578" cy="4827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33" name="Picture 1" descr="Image">
            <a:extLst>
              <a:ext uri="{FF2B5EF4-FFF2-40B4-BE49-F238E27FC236}">
                <a16:creationId xmlns:a16="http://schemas.microsoft.com/office/drawing/2014/main" id="{E435BC03-2023-42EF-B25B-BCA24AA1F7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r:link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3731" y="1507183"/>
            <a:ext cx="2224699" cy="4827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3">
            <a:extLst>
              <a:ext uri="{FF2B5EF4-FFF2-40B4-BE49-F238E27FC236}">
                <a16:creationId xmlns:a16="http://schemas.microsoft.com/office/drawing/2014/main" id="{679C06B4-840A-46A1-A5A7-2DD3AA7793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9A7E9CD0-DE80-4A52-B177-7EAB564BC0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5340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35E57A78-C1B4-4A2A-8CD6-21F2E37C67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1347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nl-BE" altLang="nl-BE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nl-BE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0" name="Picture 9" descr="Image">
            <a:extLst>
              <a:ext uri="{FF2B5EF4-FFF2-40B4-BE49-F238E27FC236}">
                <a16:creationId xmlns:a16="http://schemas.microsoft.com/office/drawing/2014/main" id="{9724A483-AA9F-4754-930A-8C9131255AA1}"/>
              </a:ext>
            </a:extLst>
          </p:cNvPr>
          <p:cNvPicPr/>
          <p:nvPr/>
        </p:nvPicPr>
        <p:blipFill>
          <a:blip r:embed="rId6" r:link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295" y="1507185"/>
            <a:ext cx="2224699" cy="482702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4F7493A-0401-4068-87AF-8D1A46938741}"/>
              </a:ext>
            </a:extLst>
          </p:cNvPr>
          <p:cNvSpPr txBox="1">
            <a:spLocks/>
          </p:cNvSpPr>
          <p:nvPr/>
        </p:nvSpPr>
        <p:spPr>
          <a:xfrm>
            <a:off x="691633" y="1092972"/>
            <a:ext cx="4416697" cy="551956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Press the “</a:t>
            </a:r>
            <a:r>
              <a:rPr lang="en-US" b="1" dirty="0" err="1"/>
              <a:t>Mobiel</a:t>
            </a:r>
            <a:r>
              <a:rPr lang="en-US" b="1" dirty="0"/>
              <a:t> </a:t>
            </a:r>
            <a:r>
              <a:rPr lang="en-US" b="1" dirty="0" err="1"/>
              <a:t>Verbruik</a:t>
            </a:r>
            <a:r>
              <a:rPr lang="en-US" b="1" dirty="0"/>
              <a:t>” circle</a:t>
            </a:r>
          </a:p>
          <a:p>
            <a:endParaRPr lang="nl-BE" b="1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614309C8-0A33-4AC0-8121-C7FA38954E59}"/>
              </a:ext>
            </a:extLst>
          </p:cNvPr>
          <p:cNvSpPr txBox="1">
            <a:spLocks/>
          </p:cNvSpPr>
          <p:nvPr/>
        </p:nvSpPr>
        <p:spPr>
          <a:xfrm>
            <a:off x="3739948" y="1100592"/>
            <a:ext cx="2600034" cy="551956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Select ‘</a:t>
            </a:r>
            <a:r>
              <a:rPr lang="en-US" b="1" dirty="0" err="1"/>
              <a:t>Verbruiksdetails</a:t>
            </a:r>
            <a:r>
              <a:rPr lang="en-US" b="1" dirty="0"/>
              <a:t>’</a:t>
            </a:r>
            <a:br>
              <a:rPr lang="en-US" b="1" dirty="0"/>
            </a:br>
            <a:endParaRPr lang="en-US" b="1" dirty="0"/>
          </a:p>
          <a:p>
            <a:endParaRPr lang="nl-BE" b="1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49FC648-C23C-4122-881A-90A809BF2B0F}"/>
              </a:ext>
            </a:extLst>
          </p:cNvPr>
          <p:cNvGrpSpPr/>
          <p:nvPr/>
        </p:nvGrpSpPr>
        <p:grpSpPr>
          <a:xfrm>
            <a:off x="11394140" y="89648"/>
            <a:ext cx="699247" cy="712111"/>
            <a:chOff x="11071411" y="89647"/>
            <a:chExt cx="1021977" cy="1533541"/>
          </a:xfrm>
        </p:grpSpPr>
        <p:sp>
          <p:nvSpPr>
            <p:cNvPr id="13" name="Action Button: Home 4">
              <a:hlinkClick r:id="rId8" action="ppaction://hlinksldjump" highlightClick="1"/>
              <a:extLst>
                <a:ext uri="{FF2B5EF4-FFF2-40B4-BE49-F238E27FC236}">
                  <a16:creationId xmlns:a16="http://schemas.microsoft.com/office/drawing/2014/main" id="{8D5B1F27-BD75-4F29-B890-49545F4DCD8C}"/>
                </a:ext>
              </a:extLst>
            </p:cNvPr>
            <p:cNvSpPr/>
            <p:nvPr/>
          </p:nvSpPr>
          <p:spPr>
            <a:xfrm>
              <a:off x="11107271" y="89647"/>
              <a:ext cx="950258" cy="815788"/>
            </a:xfrm>
            <a:prstGeom prst="actionButtonHom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BE" sz="1200" dirty="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4D4774C-E512-4D1A-A555-E73517CEE1DD}"/>
                </a:ext>
              </a:extLst>
            </p:cNvPr>
            <p:cNvSpPr txBox="1"/>
            <p:nvPr/>
          </p:nvSpPr>
          <p:spPr>
            <a:xfrm>
              <a:off x="11071411" y="905434"/>
              <a:ext cx="1021977" cy="717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B</a:t>
              </a:r>
              <a:r>
                <a:rPr lang="en-BE" sz="1000"/>
                <a:t>ack to overvie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572462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200DAC5D-D380-42DA-9987-6C89C1F185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849" y="1303721"/>
            <a:ext cx="6600825" cy="4905375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C6B5DB-169F-4A50-96D9-FA04EB5FA6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nsult Usage  -  My Telenet</a:t>
            </a:r>
            <a:endParaRPr lang="nl-BE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679C06B4-840A-46A1-A5A7-2DD3AA7793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9A7E9CD0-DE80-4A52-B177-7EAB564BC0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5340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35E57A78-C1B4-4A2A-8CD6-21F2E37C67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1347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nl-BE" altLang="nl-BE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nl-BE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64B4D8F-6FCC-48AA-8036-85E02DBE7E88}"/>
              </a:ext>
            </a:extLst>
          </p:cNvPr>
          <p:cNvSpPr txBox="1">
            <a:spLocks/>
          </p:cNvSpPr>
          <p:nvPr/>
        </p:nvSpPr>
        <p:spPr>
          <a:xfrm>
            <a:off x="7876205" y="1370421"/>
            <a:ext cx="3897784" cy="551956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Click on the “Mobile </a:t>
            </a:r>
            <a:r>
              <a:rPr lang="en-US" sz="1600" b="1" dirty="0" err="1"/>
              <a:t>Vebruik</a:t>
            </a:r>
            <a:r>
              <a:rPr lang="en-US" sz="1600" b="1" dirty="0"/>
              <a:t>” </a:t>
            </a:r>
            <a:r>
              <a:rPr lang="en-US" sz="1600" b="1" dirty="0" err="1"/>
              <a:t>tegel</a:t>
            </a:r>
            <a:endParaRPr lang="en-US" sz="1600" b="1" dirty="0"/>
          </a:p>
          <a:p>
            <a:pPr marL="0" indent="0">
              <a:buNone/>
            </a:pPr>
            <a:br>
              <a:rPr lang="en-US" sz="1600" b="1" dirty="0"/>
            </a:br>
            <a:endParaRPr lang="en-US" sz="1600" b="1" dirty="0"/>
          </a:p>
          <a:p>
            <a:endParaRPr lang="nl-BE" sz="1600" b="1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2ECC324-2889-49CE-B8B1-DBB4615422FB}"/>
              </a:ext>
            </a:extLst>
          </p:cNvPr>
          <p:cNvSpPr/>
          <p:nvPr/>
        </p:nvSpPr>
        <p:spPr>
          <a:xfrm>
            <a:off x="667849" y="2861926"/>
            <a:ext cx="3130428" cy="2063683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2B032DE-8B63-4048-8723-6162369D13C7}"/>
              </a:ext>
            </a:extLst>
          </p:cNvPr>
          <p:cNvGrpSpPr/>
          <p:nvPr/>
        </p:nvGrpSpPr>
        <p:grpSpPr>
          <a:xfrm>
            <a:off x="11394140" y="89648"/>
            <a:ext cx="699247" cy="712111"/>
            <a:chOff x="11071411" y="89647"/>
            <a:chExt cx="1021977" cy="1533541"/>
          </a:xfrm>
        </p:grpSpPr>
        <p:sp>
          <p:nvSpPr>
            <p:cNvPr id="13" name="Action Button: Home 4">
              <a:hlinkClick r:id="rId3" action="ppaction://hlinksldjump" highlightClick="1"/>
              <a:extLst>
                <a:ext uri="{FF2B5EF4-FFF2-40B4-BE49-F238E27FC236}">
                  <a16:creationId xmlns:a16="http://schemas.microsoft.com/office/drawing/2014/main" id="{4AA71FB1-A085-4851-9158-E3C1CC65EE40}"/>
                </a:ext>
              </a:extLst>
            </p:cNvPr>
            <p:cNvSpPr/>
            <p:nvPr/>
          </p:nvSpPr>
          <p:spPr>
            <a:xfrm>
              <a:off x="11107271" y="89647"/>
              <a:ext cx="950258" cy="815788"/>
            </a:xfrm>
            <a:prstGeom prst="actionButtonHom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BE" sz="1200" dirty="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5836B60-D5A2-4D27-8B54-8B413E40F838}"/>
                </a:ext>
              </a:extLst>
            </p:cNvPr>
            <p:cNvSpPr txBox="1"/>
            <p:nvPr/>
          </p:nvSpPr>
          <p:spPr>
            <a:xfrm>
              <a:off x="11071411" y="905434"/>
              <a:ext cx="1021977" cy="717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B</a:t>
              </a:r>
              <a:r>
                <a:rPr lang="en-BE" sz="1000"/>
                <a:t>ack to overvie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984281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B90C31B-5A0A-4F70-B777-38B82D8347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nsult Usage  -  My Telenet</a:t>
            </a:r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CA98C65-FF12-44A0-AF71-967D7E5B5ED7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722177" y="1793966"/>
            <a:ext cx="3721300" cy="38317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F9CD733-F636-493D-858B-AF46FED797E3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5486398" y="1793966"/>
            <a:ext cx="4005944" cy="30560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0CDC667-57F4-454C-A57C-2B8E806BF66A}"/>
              </a:ext>
            </a:extLst>
          </p:cNvPr>
          <p:cNvSpPr txBox="1">
            <a:spLocks/>
          </p:cNvSpPr>
          <p:nvPr/>
        </p:nvSpPr>
        <p:spPr>
          <a:xfrm>
            <a:off x="722177" y="1232263"/>
            <a:ext cx="3323017" cy="551956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/>
              <a:t>Select ‘</a:t>
            </a:r>
            <a:r>
              <a:rPr lang="en-US" sz="1600" err="1"/>
              <a:t>Uw</a:t>
            </a:r>
            <a:r>
              <a:rPr lang="en-US" sz="1600"/>
              <a:t> </a:t>
            </a:r>
            <a:r>
              <a:rPr lang="en-US" sz="1600" err="1"/>
              <a:t>verbruik</a:t>
            </a:r>
            <a:r>
              <a:rPr lang="en-US" sz="1600"/>
              <a:t> details’</a:t>
            </a:r>
            <a:br>
              <a:rPr lang="en-US" sz="1600"/>
            </a:br>
            <a:endParaRPr lang="en-US" sz="1600"/>
          </a:p>
          <a:p>
            <a:endParaRPr lang="nl-BE" sz="160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4789FDA-0DF0-4D99-A10D-A8782E18BF4D}"/>
              </a:ext>
            </a:extLst>
          </p:cNvPr>
          <p:cNvSpPr/>
          <p:nvPr/>
        </p:nvSpPr>
        <p:spPr>
          <a:xfrm>
            <a:off x="3692769" y="2190208"/>
            <a:ext cx="750708" cy="377146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1E760F3-E617-4939-903D-C23259F6283F}"/>
              </a:ext>
            </a:extLst>
          </p:cNvPr>
          <p:cNvGrpSpPr/>
          <p:nvPr/>
        </p:nvGrpSpPr>
        <p:grpSpPr>
          <a:xfrm>
            <a:off x="11394140" y="89648"/>
            <a:ext cx="699247" cy="712111"/>
            <a:chOff x="11071411" y="89647"/>
            <a:chExt cx="1021977" cy="1533541"/>
          </a:xfrm>
        </p:grpSpPr>
        <p:sp>
          <p:nvSpPr>
            <p:cNvPr id="10" name="Action Button: Home 4">
              <a:hlinkClick r:id="rId4" action="ppaction://hlinksldjump" highlightClick="1"/>
              <a:extLst>
                <a:ext uri="{FF2B5EF4-FFF2-40B4-BE49-F238E27FC236}">
                  <a16:creationId xmlns:a16="http://schemas.microsoft.com/office/drawing/2014/main" id="{AE51EDA5-5BB4-463E-B810-D38113005DF5}"/>
                </a:ext>
              </a:extLst>
            </p:cNvPr>
            <p:cNvSpPr/>
            <p:nvPr/>
          </p:nvSpPr>
          <p:spPr>
            <a:xfrm>
              <a:off x="11107271" y="89647"/>
              <a:ext cx="950258" cy="815788"/>
            </a:xfrm>
            <a:prstGeom prst="actionButtonHom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BE" sz="1200" dirty="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6C036D76-01AE-4EA0-A55C-C7E774AB6D41}"/>
                </a:ext>
              </a:extLst>
            </p:cNvPr>
            <p:cNvSpPr txBox="1"/>
            <p:nvPr/>
          </p:nvSpPr>
          <p:spPr>
            <a:xfrm>
              <a:off x="11071411" y="905434"/>
              <a:ext cx="1021977" cy="717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B</a:t>
              </a:r>
              <a:r>
                <a:rPr lang="en-BE" sz="1000"/>
                <a:t>ack to overvie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539602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1C0E325-75F2-4CC8-BB01-E620D04C63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Consult </a:t>
            </a:r>
            <a:r>
              <a:rPr lang="en-US" err="1"/>
              <a:t>PRoducts</a:t>
            </a:r>
            <a:endParaRPr lang="nl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932988-D9F8-4F1C-8D5A-81318ECD78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5825AF-91E0-426A-9510-05F5FE4645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l-BE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2A712A5-451D-4897-89D1-87D890D338F3}"/>
              </a:ext>
            </a:extLst>
          </p:cNvPr>
          <p:cNvGrpSpPr/>
          <p:nvPr/>
        </p:nvGrpSpPr>
        <p:grpSpPr>
          <a:xfrm>
            <a:off x="11394140" y="89648"/>
            <a:ext cx="699247" cy="712111"/>
            <a:chOff x="11071411" y="89647"/>
            <a:chExt cx="1021977" cy="1533541"/>
          </a:xfrm>
        </p:grpSpPr>
        <p:sp>
          <p:nvSpPr>
            <p:cNvPr id="6" name="Action Button: Home 4">
              <a:hlinkClick r:id="rId2" action="ppaction://hlinksldjump" highlightClick="1"/>
              <a:extLst>
                <a:ext uri="{FF2B5EF4-FFF2-40B4-BE49-F238E27FC236}">
                  <a16:creationId xmlns:a16="http://schemas.microsoft.com/office/drawing/2014/main" id="{CB4ED8E8-F52C-4B72-98CC-C51AD57D3DFE}"/>
                </a:ext>
              </a:extLst>
            </p:cNvPr>
            <p:cNvSpPr/>
            <p:nvPr/>
          </p:nvSpPr>
          <p:spPr>
            <a:xfrm>
              <a:off x="11107271" y="89647"/>
              <a:ext cx="950258" cy="815788"/>
            </a:xfrm>
            <a:prstGeom prst="actionButtonHom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BE" sz="1200" dirty="0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7534EC1-D17A-4587-9AD3-710C7A41B28D}"/>
                </a:ext>
              </a:extLst>
            </p:cNvPr>
            <p:cNvSpPr txBox="1"/>
            <p:nvPr/>
          </p:nvSpPr>
          <p:spPr>
            <a:xfrm>
              <a:off x="11071411" y="905434"/>
              <a:ext cx="1021977" cy="717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B</a:t>
              </a:r>
              <a:r>
                <a:rPr lang="en-BE" sz="1000"/>
                <a:t>ack to overvie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678588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C6B5DB-169F-4A50-96D9-FA04EB5FA6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Consult Products – Telenet App </a:t>
            </a:r>
            <a:endParaRPr lang="nl-BE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679C06B4-840A-46A1-A5A7-2DD3AA7793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9A7E9CD0-DE80-4A52-B177-7EAB564BC0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5340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35E57A78-C1B4-4A2A-8CD6-21F2E37C67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1347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nl-BE" altLang="nl-BE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nl-BE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20482" name="Picture 2" descr="Image">
            <a:extLst>
              <a:ext uri="{FF2B5EF4-FFF2-40B4-BE49-F238E27FC236}">
                <a16:creationId xmlns:a16="http://schemas.microsoft.com/office/drawing/2014/main" id="{29A887BD-1544-46D2-B71A-0928E1DB92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0109" y="1709445"/>
            <a:ext cx="2216666" cy="48069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1" name="Picture 1" descr="Image">
            <a:extLst>
              <a:ext uri="{FF2B5EF4-FFF2-40B4-BE49-F238E27FC236}">
                <a16:creationId xmlns:a16="http://schemas.microsoft.com/office/drawing/2014/main" id="{30D450D6-B2E7-41E9-869D-0691831F21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r:link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2512" y="1680643"/>
            <a:ext cx="2225533" cy="48164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3">
            <a:extLst>
              <a:ext uri="{FF2B5EF4-FFF2-40B4-BE49-F238E27FC236}">
                <a16:creationId xmlns:a16="http://schemas.microsoft.com/office/drawing/2014/main" id="{4180E21E-FBAE-412E-9F47-987ADE3C50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-2632364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A88E7CF1-38AE-416E-95E5-E17C307517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3339811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F8246F06-E9C5-45FD-B2BC-EF2F525CEC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8864311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pic>
        <p:nvPicPr>
          <p:cNvPr id="11" name="Picture 2" descr="Image">
            <a:extLst>
              <a:ext uri="{FF2B5EF4-FFF2-40B4-BE49-F238E27FC236}">
                <a16:creationId xmlns:a16="http://schemas.microsoft.com/office/drawing/2014/main" id="{1BED0C2B-3C2F-4D0D-B02A-3715FE9F42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r:link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709" y="1685053"/>
            <a:ext cx="2226578" cy="482702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D7A18F90-CAB3-4965-BDBD-823A51F6CBCC}"/>
              </a:ext>
            </a:extLst>
          </p:cNvPr>
          <p:cNvSpPr txBox="1">
            <a:spLocks/>
          </p:cNvSpPr>
          <p:nvPr/>
        </p:nvSpPr>
        <p:spPr>
          <a:xfrm>
            <a:off x="343709" y="1035951"/>
            <a:ext cx="3017800" cy="551956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Click on ‘Meer’</a:t>
            </a:r>
          </a:p>
          <a:p>
            <a:r>
              <a:rPr lang="en-US" sz="1400"/>
              <a:t>Select ‘</a:t>
            </a:r>
            <a:r>
              <a:rPr lang="en-US" sz="1400" err="1"/>
              <a:t>Mijn</a:t>
            </a:r>
            <a:r>
              <a:rPr lang="en-US" sz="1400"/>
              <a:t> </a:t>
            </a:r>
            <a:r>
              <a:rPr lang="en-US" sz="1400" err="1"/>
              <a:t>diensten</a:t>
            </a:r>
            <a:r>
              <a:rPr lang="en-US" sz="1400"/>
              <a:t>’</a:t>
            </a:r>
            <a:endParaRPr lang="nl-BE" sz="140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0472F12-59E9-4242-AB7D-9B973DD02721}"/>
              </a:ext>
            </a:extLst>
          </p:cNvPr>
          <p:cNvSpPr txBox="1">
            <a:spLocks/>
          </p:cNvSpPr>
          <p:nvPr/>
        </p:nvSpPr>
        <p:spPr>
          <a:xfrm>
            <a:off x="3990109" y="1098135"/>
            <a:ext cx="3150920" cy="551956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Click on ‘</a:t>
            </a:r>
            <a:r>
              <a:rPr lang="en-US" sz="1400" err="1"/>
              <a:t>Beheer</a:t>
            </a:r>
            <a:r>
              <a:rPr lang="en-US" sz="1400"/>
              <a:t> je </a:t>
            </a:r>
            <a:br>
              <a:rPr lang="en-US" sz="1400"/>
            </a:br>
            <a:r>
              <a:rPr lang="en-US" sz="1400"/>
              <a:t>Telenet-</a:t>
            </a:r>
            <a:r>
              <a:rPr lang="en-US" sz="1400" err="1"/>
              <a:t>diensten</a:t>
            </a:r>
            <a:r>
              <a:rPr lang="en-US" sz="1400"/>
              <a:t>’</a:t>
            </a:r>
            <a:endParaRPr lang="nl-BE" sz="140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96A7B1FD-1E39-418D-ADA9-BC1E91293E0F}"/>
              </a:ext>
            </a:extLst>
          </p:cNvPr>
          <p:cNvSpPr/>
          <p:nvPr/>
        </p:nvSpPr>
        <p:spPr>
          <a:xfrm>
            <a:off x="2007405" y="5834477"/>
            <a:ext cx="750708" cy="377146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9C95D8B8-8D81-4614-A968-A1E0B507293C}"/>
              </a:ext>
            </a:extLst>
          </p:cNvPr>
          <p:cNvSpPr/>
          <p:nvPr/>
        </p:nvSpPr>
        <p:spPr>
          <a:xfrm>
            <a:off x="3881028" y="4873125"/>
            <a:ext cx="2421159" cy="377146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CF01EC2-593F-43C5-A221-2B133D8F692A}"/>
              </a:ext>
            </a:extLst>
          </p:cNvPr>
          <p:cNvGrpSpPr/>
          <p:nvPr/>
        </p:nvGrpSpPr>
        <p:grpSpPr>
          <a:xfrm>
            <a:off x="11394140" y="89648"/>
            <a:ext cx="699247" cy="712111"/>
            <a:chOff x="11071411" y="89647"/>
            <a:chExt cx="1021977" cy="1533541"/>
          </a:xfrm>
        </p:grpSpPr>
        <p:sp>
          <p:nvSpPr>
            <p:cNvPr id="17" name="Action Button: Home 4">
              <a:hlinkClick r:id="rId8" action="ppaction://hlinksldjump" highlightClick="1"/>
              <a:extLst>
                <a:ext uri="{FF2B5EF4-FFF2-40B4-BE49-F238E27FC236}">
                  <a16:creationId xmlns:a16="http://schemas.microsoft.com/office/drawing/2014/main" id="{808EDD80-99DD-48EE-B33B-A98332F89CDD}"/>
                </a:ext>
              </a:extLst>
            </p:cNvPr>
            <p:cNvSpPr/>
            <p:nvPr/>
          </p:nvSpPr>
          <p:spPr>
            <a:xfrm>
              <a:off x="11107271" y="89647"/>
              <a:ext cx="950258" cy="815788"/>
            </a:xfrm>
            <a:prstGeom prst="actionButtonHom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BE" sz="1200" dirty="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66697C1-ADB0-439F-A233-E1C7BE280BE2}"/>
                </a:ext>
              </a:extLst>
            </p:cNvPr>
            <p:cNvSpPr txBox="1"/>
            <p:nvPr/>
          </p:nvSpPr>
          <p:spPr>
            <a:xfrm>
              <a:off x="11071411" y="905434"/>
              <a:ext cx="1021977" cy="717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B</a:t>
              </a:r>
              <a:r>
                <a:rPr lang="en-BE" sz="1000"/>
                <a:t>ack to overvie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719397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96737E0C-0F2D-414D-9B82-A69682316A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207" y="1681282"/>
            <a:ext cx="5392471" cy="4007392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C6B5DB-169F-4A50-96D9-FA04EB5FA6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nsult Products – My Telenet</a:t>
            </a:r>
            <a:endParaRPr lang="nl-BE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679C06B4-840A-46A1-A5A7-2DD3AA7793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9A7E9CD0-DE80-4A52-B177-7EAB564BC0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5340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35E57A78-C1B4-4A2A-8CD6-21F2E37C67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1347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nl-BE" altLang="nl-BE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nl-BE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4180E21E-FBAE-412E-9F47-987ADE3C50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-2632364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A88E7CF1-38AE-416E-95E5-E17C307517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3339811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F8246F06-E9C5-45FD-B2BC-EF2F525CEC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8864311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010DBD3-1962-4ABB-85A3-09AA0B916162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6365333" y="1902623"/>
            <a:ext cx="5731510" cy="26974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Rectangle 4">
            <a:extLst>
              <a:ext uri="{FF2B5EF4-FFF2-40B4-BE49-F238E27FC236}">
                <a16:creationId xmlns:a16="http://schemas.microsoft.com/office/drawing/2014/main" id="{8ED3F1C9-3472-49EA-B69C-2A5C3AA1AC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-879566" y="5708197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2265C7B-9A39-4219-B9E6-6FD37218851F}"/>
              </a:ext>
            </a:extLst>
          </p:cNvPr>
          <p:cNvSpPr txBox="1">
            <a:spLocks/>
          </p:cNvSpPr>
          <p:nvPr/>
        </p:nvSpPr>
        <p:spPr>
          <a:xfrm>
            <a:off x="439084" y="1076572"/>
            <a:ext cx="3897784" cy="551956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/>
              <a:t>Select ‘</a:t>
            </a:r>
            <a:r>
              <a:rPr lang="en-US" sz="1600" err="1"/>
              <a:t>Uw</a:t>
            </a:r>
            <a:r>
              <a:rPr lang="en-US" sz="1600"/>
              <a:t> </a:t>
            </a:r>
            <a:r>
              <a:rPr lang="en-US" sz="1600" err="1"/>
              <a:t>producten</a:t>
            </a:r>
            <a:r>
              <a:rPr lang="en-US" sz="1600"/>
              <a:t>’</a:t>
            </a:r>
          </a:p>
          <a:p>
            <a:pPr marL="0" indent="0">
              <a:buNone/>
            </a:pPr>
            <a:br>
              <a:rPr lang="en-US" sz="1600"/>
            </a:br>
            <a:endParaRPr lang="en-US" sz="1600"/>
          </a:p>
          <a:p>
            <a:endParaRPr lang="nl-BE" sz="160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471B02F-263D-4F13-9684-A71D1E542994}"/>
              </a:ext>
            </a:extLst>
          </p:cNvPr>
          <p:cNvSpPr txBox="1">
            <a:spLocks/>
          </p:cNvSpPr>
          <p:nvPr/>
        </p:nvSpPr>
        <p:spPr>
          <a:xfrm>
            <a:off x="6737591" y="1263582"/>
            <a:ext cx="4353474" cy="551956"/>
          </a:xfrm>
          <a:prstGeom prst="rect">
            <a:avLst/>
          </a:prstGeom>
        </p:spPr>
        <p:txBody>
          <a:bodyPr lIns="0" tIns="108000" rIns="108000" bIns="108000" anchor="t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You can manage options via ‘</a:t>
            </a:r>
            <a:r>
              <a:rPr lang="en-US" sz="1600" dirty="0" err="1"/>
              <a:t>Beheer</a:t>
            </a:r>
            <a:r>
              <a:rPr lang="en-US" sz="1600" dirty="0"/>
              <a:t> je </a:t>
            </a:r>
            <a:r>
              <a:rPr lang="en-US" sz="1600" dirty="0" err="1"/>
              <a:t>opties</a:t>
            </a:r>
            <a:r>
              <a:rPr lang="en-US" sz="1600" dirty="0"/>
              <a:t>’</a:t>
            </a:r>
          </a:p>
          <a:p>
            <a:pPr marL="0" indent="0">
              <a:buNone/>
            </a:pPr>
            <a:br>
              <a:rPr lang="en-US" sz="1600" dirty="0"/>
            </a:br>
            <a:endParaRPr lang="en-US" sz="1600" dirty="0"/>
          </a:p>
          <a:p>
            <a:endParaRPr lang="nl-BE" sz="1600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1CE588DA-224B-4AA6-9D72-DE808233230E}"/>
              </a:ext>
            </a:extLst>
          </p:cNvPr>
          <p:cNvSpPr/>
          <p:nvPr/>
        </p:nvSpPr>
        <p:spPr>
          <a:xfrm>
            <a:off x="2976282" y="3795546"/>
            <a:ext cx="1360586" cy="847637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A1EE947F-9597-44D4-A24E-81DB03C0AC53}"/>
              </a:ext>
            </a:extLst>
          </p:cNvPr>
          <p:cNvSpPr/>
          <p:nvPr/>
        </p:nvSpPr>
        <p:spPr>
          <a:xfrm>
            <a:off x="10919011" y="3209997"/>
            <a:ext cx="722127" cy="323035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BC85A6E-8AA0-4BFC-8C34-27D848BED11D}"/>
              </a:ext>
            </a:extLst>
          </p:cNvPr>
          <p:cNvGrpSpPr/>
          <p:nvPr/>
        </p:nvGrpSpPr>
        <p:grpSpPr>
          <a:xfrm>
            <a:off x="11394140" y="89648"/>
            <a:ext cx="699247" cy="712111"/>
            <a:chOff x="11071411" y="89647"/>
            <a:chExt cx="1021977" cy="1533541"/>
          </a:xfrm>
        </p:grpSpPr>
        <p:sp>
          <p:nvSpPr>
            <p:cNvPr id="18" name="Action Button: Home 4">
              <a:hlinkClick r:id="rId4" action="ppaction://hlinksldjump" highlightClick="1"/>
              <a:extLst>
                <a:ext uri="{FF2B5EF4-FFF2-40B4-BE49-F238E27FC236}">
                  <a16:creationId xmlns:a16="http://schemas.microsoft.com/office/drawing/2014/main" id="{D90A59EB-3E87-48AD-8613-28B3CD4AE403}"/>
                </a:ext>
              </a:extLst>
            </p:cNvPr>
            <p:cNvSpPr/>
            <p:nvPr/>
          </p:nvSpPr>
          <p:spPr>
            <a:xfrm>
              <a:off x="11107271" y="89647"/>
              <a:ext cx="950258" cy="815788"/>
            </a:xfrm>
            <a:prstGeom prst="actionButtonHom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BE" sz="1200" dirty="0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7D39B4F5-ACFC-423C-9D46-2ABD75B11304}"/>
                </a:ext>
              </a:extLst>
            </p:cNvPr>
            <p:cNvSpPr txBox="1"/>
            <p:nvPr/>
          </p:nvSpPr>
          <p:spPr>
            <a:xfrm>
              <a:off x="11071411" y="905434"/>
              <a:ext cx="1021977" cy="717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B</a:t>
              </a:r>
              <a:r>
                <a:rPr lang="en-BE" sz="1000"/>
                <a:t>ack to overvie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731354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5AC1F62-4D98-4C10-A60C-6F87706579D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Invoices &amp; Payments</a:t>
            </a:r>
            <a:endParaRPr lang="nl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EDA685-DDFC-47B0-8AE5-22A40D4430F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E09FC94-E872-47B5-B018-1928364DE7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l-BE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2945F14-C3AC-449D-9934-43BB04B59DD4}"/>
              </a:ext>
            </a:extLst>
          </p:cNvPr>
          <p:cNvGrpSpPr/>
          <p:nvPr/>
        </p:nvGrpSpPr>
        <p:grpSpPr>
          <a:xfrm>
            <a:off x="11394140" y="89648"/>
            <a:ext cx="699247" cy="712111"/>
            <a:chOff x="11071411" y="89647"/>
            <a:chExt cx="1021977" cy="1533541"/>
          </a:xfrm>
        </p:grpSpPr>
        <p:sp>
          <p:nvSpPr>
            <p:cNvPr id="6" name="Action Button: Home 4">
              <a:hlinkClick r:id="rId2" action="ppaction://hlinksldjump" highlightClick="1"/>
              <a:extLst>
                <a:ext uri="{FF2B5EF4-FFF2-40B4-BE49-F238E27FC236}">
                  <a16:creationId xmlns:a16="http://schemas.microsoft.com/office/drawing/2014/main" id="{1BD13BB2-E057-4C02-965A-A23D5F3A7175}"/>
                </a:ext>
              </a:extLst>
            </p:cNvPr>
            <p:cNvSpPr/>
            <p:nvPr/>
          </p:nvSpPr>
          <p:spPr>
            <a:xfrm>
              <a:off x="11107271" y="89647"/>
              <a:ext cx="950258" cy="815788"/>
            </a:xfrm>
            <a:prstGeom prst="actionButtonHom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BE" sz="1200" dirty="0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2655F1F-A705-4792-BC89-E337DFD6F568}"/>
                </a:ext>
              </a:extLst>
            </p:cNvPr>
            <p:cNvSpPr txBox="1"/>
            <p:nvPr/>
          </p:nvSpPr>
          <p:spPr>
            <a:xfrm>
              <a:off x="11071411" y="905434"/>
              <a:ext cx="1021977" cy="717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B</a:t>
              </a:r>
              <a:r>
                <a:rPr lang="en-BE" sz="1000"/>
                <a:t>ack to overvie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238739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1D5C52A-B6A3-4734-AD21-993B5E12F56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My Telenet &amp; Telenet App</a:t>
            </a:r>
            <a:endParaRPr lang="en-B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6F0343-2E3B-43E3-8365-94652ABBC4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59" y="2542512"/>
            <a:ext cx="11090275" cy="249299"/>
          </a:xfrm>
        </p:spPr>
        <p:txBody>
          <a:bodyPr/>
          <a:lstStyle/>
          <a:p>
            <a:r>
              <a:rPr lang="en-US" dirty="0"/>
              <a:t>Step-by-step instructions for Fleet Users</a:t>
            </a:r>
            <a:endParaRPr lang="en-B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F5E93C-C76B-4252-A81D-53E4281166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0993176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C6B5DB-169F-4A50-96D9-FA04EB5FA6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Consult Invoices &amp; Payments – Telenet App </a:t>
            </a:r>
            <a:endParaRPr lang="nl-BE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679C06B4-840A-46A1-A5A7-2DD3AA7793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9A7E9CD0-DE80-4A52-B177-7EAB564BC0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5340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35E57A78-C1B4-4A2A-8CD6-21F2E37C67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1347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nl-BE" altLang="nl-BE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nl-BE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4180E21E-FBAE-412E-9F47-987ADE3C50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-2632364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A88E7CF1-38AE-416E-95E5-E17C307517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3339811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F8246F06-E9C5-45FD-B2BC-EF2F525CEC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8864311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pic>
        <p:nvPicPr>
          <p:cNvPr id="21506" name="Picture 2" descr="Image">
            <a:extLst>
              <a:ext uri="{FF2B5EF4-FFF2-40B4-BE49-F238E27FC236}">
                <a16:creationId xmlns:a16="http://schemas.microsoft.com/office/drawing/2014/main" id="{EAB95C15-A0CC-4EBC-B56A-36517F9C9C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4758" y="1766885"/>
            <a:ext cx="2225971" cy="48270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05" name="Picture 1" descr="Image">
            <a:extLst>
              <a:ext uri="{FF2B5EF4-FFF2-40B4-BE49-F238E27FC236}">
                <a16:creationId xmlns:a16="http://schemas.microsoft.com/office/drawing/2014/main" id="{FCA11AEA-4D44-4C3E-989C-E9506AE043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r:link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6376" y="1756676"/>
            <a:ext cx="2229733" cy="48270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3">
            <a:extLst>
              <a:ext uri="{FF2B5EF4-FFF2-40B4-BE49-F238E27FC236}">
                <a16:creationId xmlns:a16="http://schemas.microsoft.com/office/drawing/2014/main" id="{B90F4926-C87E-4AB3-B432-06540CED12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D5F00DAE-0B56-4F23-B44C-A8261D58C5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0960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41B722E2-A9C7-48DE-9005-1BBD2F3174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7252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pic>
        <p:nvPicPr>
          <p:cNvPr id="14" name="Picture 2" descr="Image">
            <a:extLst>
              <a:ext uri="{FF2B5EF4-FFF2-40B4-BE49-F238E27FC236}">
                <a16:creationId xmlns:a16="http://schemas.microsoft.com/office/drawing/2014/main" id="{A8DE9F1E-7820-41C5-9A2E-8A4903033F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r:link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991" y="1756660"/>
            <a:ext cx="2226578" cy="482702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5D02DC0D-AE12-494E-8F23-492DDAAE155B}"/>
              </a:ext>
            </a:extLst>
          </p:cNvPr>
          <p:cNvSpPr txBox="1">
            <a:spLocks/>
          </p:cNvSpPr>
          <p:nvPr/>
        </p:nvSpPr>
        <p:spPr>
          <a:xfrm>
            <a:off x="738049" y="1088259"/>
            <a:ext cx="3017800" cy="551956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Click on ‘</a:t>
            </a:r>
            <a:r>
              <a:rPr lang="en-US" sz="1400" err="1"/>
              <a:t>Betaling</a:t>
            </a:r>
            <a:r>
              <a:rPr lang="en-US" sz="1400"/>
              <a:t>’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27047208-E378-4196-A606-2A8D75433145}"/>
              </a:ext>
            </a:extLst>
          </p:cNvPr>
          <p:cNvSpPr txBox="1">
            <a:spLocks/>
          </p:cNvSpPr>
          <p:nvPr/>
        </p:nvSpPr>
        <p:spPr>
          <a:xfrm>
            <a:off x="4284758" y="1088259"/>
            <a:ext cx="3150920" cy="551956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Click on ‘</a:t>
            </a:r>
            <a:r>
              <a:rPr lang="en-US" sz="1400" err="1"/>
              <a:t>Bekijk</a:t>
            </a:r>
            <a:r>
              <a:rPr lang="en-US" sz="1400"/>
              <a:t> </a:t>
            </a:r>
            <a:r>
              <a:rPr lang="en-US" sz="1400" err="1"/>
              <a:t>alle</a:t>
            </a:r>
            <a:r>
              <a:rPr lang="en-US" sz="1400"/>
              <a:t> </a:t>
            </a:r>
            <a:r>
              <a:rPr lang="en-US" sz="1400" err="1"/>
              <a:t>aanrekeningen</a:t>
            </a:r>
            <a:r>
              <a:rPr lang="en-US" sz="1400"/>
              <a:t>’</a:t>
            </a:r>
          </a:p>
          <a:p>
            <a:pPr marL="0" indent="0">
              <a:buNone/>
            </a:pPr>
            <a:r>
              <a:rPr lang="en-US" sz="1400"/>
              <a:t>   or ‘</a:t>
            </a:r>
            <a:r>
              <a:rPr lang="en-US" sz="1400" err="1"/>
              <a:t>Bekijk</a:t>
            </a:r>
            <a:r>
              <a:rPr lang="en-US" sz="1400"/>
              <a:t> je </a:t>
            </a:r>
            <a:r>
              <a:rPr lang="en-US" sz="1400" err="1"/>
              <a:t>laatste</a:t>
            </a:r>
            <a:r>
              <a:rPr lang="en-US" sz="1400"/>
              <a:t> </a:t>
            </a:r>
            <a:r>
              <a:rPr lang="en-US" sz="1400" err="1"/>
              <a:t>aanrekening</a:t>
            </a:r>
            <a:r>
              <a:rPr lang="en-US" sz="1400"/>
              <a:t>’</a:t>
            </a:r>
            <a:endParaRPr lang="nl-BE" sz="140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CFE6943-C87A-4174-9D47-30855C7806AF}"/>
              </a:ext>
            </a:extLst>
          </p:cNvPr>
          <p:cNvSpPr/>
          <p:nvPr/>
        </p:nvSpPr>
        <p:spPr>
          <a:xfrm>
            <a:off x="1138727" y="5963057"/>
            <a:ext cx="621649" cy="323035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83F5278E-A114-409B-8037-9825040A77EA}"/>
              </a:ext>
            </a:extLst>
          </p:cNvPr>
          <p:cNvSpPr/>
          <p:nvPr/>
        </p:nvSpPr>
        <p:spPr>
          <a:xfrm>
            <a:off x="4464633" y="5147675"/>
            <a:ext cx="1819626" cy="323035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8F8EEDE-0129-4A8A-A90B-4C56C1C2B11C}"/>
              </a:ext>
            </a:extLst>
          </p:cNvPr>
          <p:cNvSpPr/>
          <p:nvPr/>
        </p:nvSpPr>
        <p:spPr>
          <a:xfrm>
            <a:off x="4454114" y="5717519"/>
            <a:ext cx="1819626" cy="323035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FBC3862-E187-4B5F-83CB-A96BB967E8B4}"/>
              </a:ext>
            </a:extLst>
          </p:cNvPr>
          <p:cNvGrpSpPr/>
          <p:nvPr/>
        </p:nvGrpSpPr>
        <p:grpSpPr>
          <a:xfrm>
            <a:off x="11394140" y="89648"/>
            <a:ext cx="699247" cy="712111"/>
            <a:chOff x="11071411" y="89647"/>
            <a:chExt cx="1021977" cy="1533541"/>
          </a:xfrm>
        </p:grpSpPr>
        <p:sp>
          <p:nvSpPr>
            <p:cNvPr id="21" name="Action Button: Home 4">
              <a:hlinkClick r:id="rId8" action="ppaction://hlinksldjump" highlightClick="1"/>
              <a:extLst>
                <a:ext uri="{FF2B5EF4-FFF2-40B4-BE49-F238E27FC236}">
                  <a16:creationId xmlns:a16="http://schemas.microsoft.com/office/drawing/2014/main" id="{9D6838D1-AC1C-4F95-9AC1-647EFEBEEFA4}"/>
                </a:ext>
              </a:extLst>
            </p:cNvPr>
            <p:cNvSpPr/>
            <p:nvPr/>
          </p:nvSpPr>
          <p:spPr>
            <a:xfrm>
              <a:off x="11107271" y="89647"/>
              <a:ext cx="950258" cy="815788"/>
            </a:xfrm>
            <a:prstGeom prst="actionButtonHom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BE" sz="1200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232FD9F8-FD00-4233-A011-851D41DBEC86}"/>
                </a:ext>
              </a:extLst>
            </p:cNvPr>
            <p:cNvSpPr txBox="1"/>
            <p:nvPr/>
          </p:nvSpPr>
          <p:spPr>
            <a:xfrm>
              <a:off x="11071411" y="905434"/>
              <a:ext cx="1021977" cy="717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B</a:t>
              </a:r>
              <a:r>
                <a:rPr lang="en-BE" sz="1000"/>
                <a:t>ack to overvie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899553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C386CD5C-5C1D-4AD8-865F-D8F759BBD5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8415" y="1776730"/>
            <a:ext cx="5981029" cy="4444776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C6B5DB-169F-4A50-96D9-FA04EB5FA6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nvoices &amp; Payments – My Telenet</a:t>
            </a:r>
            <a:endParaRPr lang="nl-BE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679C06B4-840A-46A1-A5A7-2DD3AA7793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9A7E9CD0-DE80-4A52-B177-7EAB564BC0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5340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35E57A78-C1B4-4A2A-8CD6-21F2E37C67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1347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nl-BE" altLang="nl-BE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nl-BE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4180E21E-FBAE-412E-9F47-987ADE3C50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-2632364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A88E7CF1-38AE-416E-95E5-E17C307517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3339811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F8246F06-E9C5-45FD-B2BC-EF2F525CEC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8864311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B90F4926-C87E-4AB3-B432-06540CED12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D5F00DAE-0B56-4F23-B44C-A8261D58C5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0960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41B722E2-A9C7-48DE-9005-1BBD2F3174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7252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9932A302-D096-4C67-9F69-03A1E723F700}"/>
              </a:ext>
            </a:extLst>
          </p:cNvPr>
          <p:cNvSpPr txBox="1">
            <a:spLocks/>
          </p:cNvSpPr>
          <p:nvPr/>
        </p:nvSpPr>
        <p:spPr>
          <a:xfrm>
            <a:off x="708415" y="1308708"/>
            <a:ext cx="3897784" cy="551956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/>
              <a:t>Select ‘</a:t>
            </a:r>
            <a:r>
              <a:rPr lang="en-US" sz="1600" err="1"/>
              <a:t>Instellingen</a:t>
            </a:r>
            <a:r>
              <a:rPr lang="en-US" sz="1600"/>
              <a:t> </a:t>
            </a:r>
            <a:r>
              <a:rPr lang="en-US" sz="1600" err="1"/>
              <a:t>voor</a:t>
            </a:r>
            <a:r>
              <a:rPr lang="en-US" sz="1600"/>
              <a:t> </a:t>
            </a:r>
            <a:r>
              <a:rPr lang="en-US" sz="1600" err="1"/>
              <a:t>uw</a:t>
            </a:r>
            <a:r>
              <a:rPr lang="en-US" sz="1600"/>
              <a:t> </a:t>
            </a:r>
            <a:r>
              <a:rPr lang="en-US" sz="1600" err="1"/>
              <a:t>facturen</a:t>
            </a:r>
            <a:r>
              <a:rPr lang="en-US" sz="1600"/>
              <a:t>’</a:t>
            </a:r>
          </a:p>
          <a:p>
            <a:pPr marL="0" indent="0">
              <a:buNone/>
            </a:pPr>
            <a:br>
              <a:rPr lang="en-US" sz="1600"/>
            </a:br>
            <a:endParaRPr lang="en-US" sz="1600"/>
          </a:p>
          <a:p>
            <a:endParaRPr lang="nl-BE" sz="160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49ED868-C74F-4729-B474-AADACA029FFC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6848593" y="1776729"/>
            <a:ext cx="4459424" cy="48377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76F720A-110A-4861-9A36-4CD5CC12DD1D}"/>
              </a:ext>
            </a:extLst>
          </p:cNvPr>
          <p:cNvSpPr txBox="1">
            <a:spLocks/>
          </p:cNvSpPr>
          <p:nvPr/>
        </p:nvSpPr>
        <p:spPr>
          <a:xfrm>
            <a:off x="6878375" y="1303657"/>
            <a:ext cx="3897784" cy="551956"/>
          </a:xfrm>
          <a:prstGeom prst="rect">
            <a:avLst/>
          </a:prstGeom>
        </p:spPr>
        <p:txBody>
          <a:bodyPr lIns="0" tIns="108000" rIns="108000" bIns="108000" anchor="t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/>
              <a:t>You can change the invoice setting</a:t>
            </a:r>
            <a:endParaRPr lang="en-US" sz="1600">
              <a:cs typeface="Arial"/>
            </a:endParaRPr>
          </a:p>
          <a:p>
            <a:endParaRPr lang="nl-BE" sz="160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349A863-F46E-4C0B-AD76-A3614E43ACD2}"/>
              </a:ext>
            </a:extLst>
          </p:cNvPr>
          <p:cNvSpPr/>
          <p:nvPr/>
        </p:nvSpPr>
        <p:spPr>
          <a:xfrm>
            <a:off x="2351019" y="5164951"/>
            <a:ext cx="1145217" cy="323035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091EB32-929F-4793-A916-FA4DBB94762A}"/>
              </a:ext>
            </a:extLst>
          </p:cNvPr>
          <p:cNvGrpSpPr/>
          <p:nvPr/>
        </p:nvGrpSpPr>
        <p:grpSpPr>
          <a:xfrm>
            <a:off x="11394140" y="89648"/>
            <a:ext cx="699247" cy="712111"/>
            <a:chOff x="11071411" y="89647"/>
            <a:chExt cx="1021977" cy="1533541"/>
          </a:xfrm>
        </p:grpSpPr>
        <p:sp>
          <p:nvSpPr>
            <p:cNvPr id="19" name="Action Button: Home 4">
              <a:hlinkClick r:id="rId4" action="ppaction://hlinksldjump" highlightClick="1"/>
              <a:extLst>
                <a:ext uri="{FF2B5EF4-FFF2-40B4-BE49-F238E27FC236}">
                  <a16:creationId xmlns:a16="http://schemas.microsoft.com/office/drawing/2014/main" id="{AC58E0F6-76EB-4B21-A4D2-FFEF61E873AB}"/>
                </a:ext>
              </a:extLst>
            </p:cNvPr>
            <p:cNvSpPr/>
            <p:nvPr/>
          </p:nvSpPr>
          <p:spPr>
            <a:xfrm>
              <a:off x="11107271" y="89647"/>
              <a:ext cx="950258" cy="815788"/>
            </a:xfrm>
            <a:prstGeom prst="actionButtonHom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BE" sz="1200" dirty="0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D115F44-C774-43DB-94D5-F489698C277F}"/>
                </a:ext>
              </a:extLst>
            </p:cNvPr>
            <p:cNvSpPr txBox="1"/>
            <p:nvPr/>
          </p:nvSpPr>
          <p:spPr>
            <a:xfrm>
              <a:off x="11071411" y="905434"/>
              <a:ext cx="1021977" cy="717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B</a:t>
              </a:r>
              <a:r>
                <a:rPr lang="en-BE" sz="1000"/>
                <a:t>ack to overvie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1473741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479ED5AD-C80B-4115-A9E7-29F462E21606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708415" y="1829746"/>
            <a:ext cx="4459424" cy="48377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C6B5DB-169F-4A50-96D9-FA04EB5FA6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nvoices &amp; Payments – My Telenet</a:t>
            </a:r>
            <a:endParaRPr lang="nl-BE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679C06B4-840A-46A1-A5A7-2DD3AA7793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9A7E9CD0-DE80-4A52-B177-7EAB564BC0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5340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35E57A78-C1B4-4A2A-8CD6-21F2E37C67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1347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nl-BE" altLang="nl-BE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nl-BE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4180E21E-FBAE-412E-9F47-987ADE3C50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-2632364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A88E7CF1-38AE-416E-95E5-E17C307517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3339811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F8246F06-E9C5-45FD-B2BC-EF2F525CEC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8864311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B90F4926-C87E-4AB3-B432-06540CED12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D5F00DAE-0B56-4F23-B44C-A8261D58C5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0960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41B722E2-A9C7-48DE-9005-1BBD2F3174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7252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9932A302-D096-4C67-9F69-03A1E723F700}"/>
              </a:ext>
            </a:extLst>
          </p:cNvPr>
          <p:cNvSpPr txBox="1">
            <a:spLocks/>
          </p:cNvSpPr>
          <p:nvPr/>
        </p:nvSpPr>
        <p:spPr>
          <a:xfrm>
            <a:off x="708415" y="1308708"/>
            <a:ext cx="3897784" cy="551956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Select ‘</a:t>
            </a:r>
            <a:r>
              <a:rPr lang="en-US" sz="1600" dirty="0" err="1"/>
              <a:t>Uw</a:t>
            </a:r>
            <a:r>
              <a:rPr lang="en-US" sz="1600" dirty="0"/>
              <a:t> </a:t>
            </a:r>
            <a:r>
              <a:rPr lang="en-US" sz="1600" dirty="0" err="1"/>
              <a:t>facturen</a:t>
            </a:r>
            <a:r>
              <a:rPr lang="en-US" sz="1600" dirty="0"/>
              <a:t>’</a:t>
            </a:r>
          </a:p>
          <a:p>
            <a:pPr marL="0" indent="0">
              <a:buNone/>
            </a:pPr>
            <a:br>
              <a:rPr lang="en-US" sz="1600" dirty="0"/>
            </a:br>
            <a:endParaRPr lang="en-US" sz="1600" dirty="0"/>
          </a:p>
          <a:p>
            <a:endParaRPr lang="nl-BE" sz="1600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76F720A-110A-4861-9A36-4CD5CC12DD1D}"/>
              </a:ext>
            </a:extLst>
          </p:cNvPr>
          <p:cNvSpPr txBox="1">
            <a:spLocks/>
          </p:cNvSpPr>
          <p:nvPr/>
        </p:nvSpPr>
        <p:spPr>
          <a:xfrm>
            <a:off x="6878375" y="1311512"/>
            <a:ext cx="4835551" cy="551956"/>
          </a:xfrm>
          <a:prstGeom prst="rect">
            <a:avLst/>
          </a:prstGeom>
        </p:spPr>
        <p:txBody>
          <a:bodyPr lIns="0" tIns="108000" rIns="108000" bIns="108000" anchor="t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>
                <a:cs typeface="Arial" panose="020B0604020202020204"/>
              </a:rPr>
              <a:t>You can download your invoice and pay online</a:t>
            </a:r>
          </a:p>
          <a:p>
            <a:endParaRPr lang="nl-BE" sz="160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AD8F7F4-9806-4091-8405-D67E9EF91D93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6824980" y="1776729"/>
            <a:ext cx="4748711" cy="42266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EE53BDBD-D064-444E-A709-E60ED10FBD7D}"/>
              </a:ext>
            </a:extLst>
          </p:cNvPr>
          <p:cNvSpPr/>
          <p:nvPr/>
        </p:nvSpPr>
        <p:spPr>
          <a:xfrm>
            <a:off x="4221289" y="2600733"/>
            <a:ext cx="1145217" cy="323035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2BAECA7-BE4B-4095-A974-78FA2CD66DF6}"/>
              </a:ext>
            </a:extLst>
          </p:cNvPr>
          <p:cNvGrpSpPr/>
          <p:nvPr/>
        </p:nvGrpSpPr>
        <p:grpSpPr>
          <a:xfrm>
            <a:off x="11394140" y="89648"/>
            <a:ext cx="699247" cy="712111"/>
            <a:chOff x="11071411" y="89647"/>
            <a:chExt cx="1021977" cy="1533541"/>
          </a:xfrm>
        </p:grpSpPr>
        <p:sp>
          <p:nvSpPr>
            <p:cNvPr id="20" name="Action Button: Home 4">
              <a:hlinkClick r:id="rId4" action="ppaction://hlinksldjump" highlightClick="1"/>
              <a:extLst>
                <a:ext uri="{FF2B5EF4-FFF2-40B4-BE49-F238E27FC236}">
                  <a16:creationId xmlns:a16="http://schemas.microsoft.com/office/drawing/2014/main" id="{245D4164-D6C5-4FAF-AAA6-E91CAB08FB4F}"/>
                </a:ext>
              </a:extLst>
            </p:cNvPr>
            <p:cNvSpPr/>
            <p:nvPr/>
          </p:nvSpPr>
          <p:spPr>
            <a:xfrm>
              <a:off x="11107271" y="89647"/>
              <a:ext cx="950258" cy="815788"/>
            </a:xfrm>
            <a:prstGeom prst="actionButtonHom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BE" sz="1200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5D34F05-3109-49C6-B34C-8F46A40E1122}"/>
                </a:ext>
              </a:extLst>
            </p:cNvPr>
            <p:cNvSpPr txBox="1"/>
            <p:nvPr/>
          </p:nvSpPr>
          <p:spPr>
            <a:xfrm>
              <a:off x="11071411" y="905434"/>
              <a:ext cx="1021977" cy="717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B</a:t>
              </a:r>
              <a:r>
                <a:rPr lang="en-BE" sz="1000"/>
                <a:t>ack to overvie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7790461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CE42634-D6D0-400C-BBF8-8DF6DE88B3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Manage User Profile</a:t>
            </a:r>
            <a:endParaRPr lang="nl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4BDCD-5B1C-407C-A156-E4E7DA2030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l-BE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5958B15-5F62-4457-9F14-59D15B0F406C}"/>
              </a:ext>
            </a:extLst>
          </p:cNvPr>
          <p:cNvGrpSpPr/>
          <p:nvPr/>
        </p:nvGrpSpPr>
        <p:grpSpPr>
          <a:xfrm>
            <a:off x="11394140" y="89648"/>
            <a:ext cx="699247" cy="712111"/>
            <a:chOff x="11071411" y="89647"/>
            <a:chExt cx="1021977" cy="1533541"/>
          </a:xfrm>
        </p:grpSpPr>
        <p:sp>
          <p:nvSpPr>
            <p:cNvPr id="5" name="Action Button: Home 4">
              <a:hlinkClick r:id="rId2" action="ppaction://hlinksldjump" highlightClick="1"/>
              <a:extLst>
                <a:ext uri="{FF2B5EF4-FFF2-40B4-BE49-F238E27FC236}">
                  <a16:creationId xmlns:a16="http://schemas.microsoft.com/office/drawing/2014/main" id="{95856C57-97FD-4C68-86B0-C0D6B0070F50}"/>
                </a:ext>
              </a:extLst>
            </p:cNvPr>
            <p:cNvSpPr/>
            <p:nvPr/>
          </p:nvSpPr>
          <p:spPr>
            <a:xfrm>
              <a:off x="11107271" y="89647"/>
              <a:ext cx="950258" cy="815788"/>
            </a:xfrm>
            <a:prstGeom prst="actionButtonHom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BE" sz="1200" dirty="0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6BAE55E-B7D0-47B8-A21E-08672C266E6E}"/>
                </a:ext>
              </a:extLst>
            </p:cNvPr>
            <p:cNvSpPr txBox="1"/>
            <p:nvPr/>
          </p:nvSpPr>
          <p:spPr>
            <a:xfrm>
              <a:off x="11071411" y="905434"/>
              <a:ext cx="1021977" cy="717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B</a:t>
              </a:r>
              <a:r>
                <a:rPr lang="en-BE" sz="1000"/>
                <a:t>ack to overvie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0972867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C6B5DB-169F-4A50-96D9-FA04EB5FA6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Manage User Profile – Telenet App </a:t>
            </a:r>
            <a:endParaRPr lang="nl-BE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679C06B4-840A-46A1-A5A7-2DD3AA7793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9A7E9CD0-DE80-4A52-B177-7EAB564BC0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5340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35E57A78-C1B4-4A2A-8CD6-21F2E37C67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1347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nl-BE" altLang="nl-BE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nl-BE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4180E21E-FBAE-412E-9F47-987ADE3C50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-2632364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A88E7CF1-38AE-416E-95E5-E17C307517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3339811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F8246F06-E9C5-45FD-B2BC-EF2F525CEC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8864311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B90F4926-C87E-4AB3-B432-06540CED12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D5F00DAE-0B56-4F23-B44C-A8261D58C5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0960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41B722E2-A9C7-48DE-9005-1BBD2F3174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7252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pic>
        <p:nvPicPr>
          <p:cNvPr id="14" name="Picture 13" descr="Image">
            <a:extLst>
              <a:ext uri="{FF2B5EF4-FFF2-40B4-BE49-F238E27FC236}">
                <a16:creationId xmlns:a16="http://schemas.microsoft.com/office/drawing/2014/main" id="{8AC84590-5A34-4ADE-B843-AC94F2305B3A}"/>
              </a:ext>
            </a:extLst>
          </p:cNvPr>
          <p:cNvPicPr/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6545" y="1756660"/>
            <a:ext cx="2185142" cy="47347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Picture 2" descr="Image">
            <a:extLst>
              <a:ext uri="{FF2B5EF4-FFF2-40B4-BE49-F238E27FC236}">
                <a16:creationId xmlns:a16="http://schemas.microsoft.com/office/drawing/2014/main" id="{22AA2715-A5B8-4266-AD9B-15CA9360C3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r:link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991" y="1756661"/>
            <a:ext cx="2184010" cy="47347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D02C602-5214-485A-BDA6-A52695714DD8}"/>
              </a:ext>
            </a:extLst>
          </p:cNvPr>
          <p:cNvSpPr txBox="1">
            <a:spLocks/>
          </p:cNvSpPr>
          <p:nvPr/>
        </p:nvSpPr>
        <p:spPr>
          <a:xfrm>
            <a:off x="781991" y="1255108"/>
            <a:ext cx="3017800" cy="551956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/>
              <a:t>Click on ‘</a:t>
            </a:r>
            <a:r>
              <a:rPr lang="en-US" sz="1400" err="1"/>
              <a:t>Profiel</a:t>
            </a:r>
            <a:r>
              <a:rPr lang="en-US" sz="1400"/>
              <a:t>’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E093218-499A-4D5E-B080-BB0363C28F28}"/>
              </a:ext>
            </a:extLst>
          </p:cNvPr>
          <p:cNvSpPr/>
          <p:nvPr/>
        </p:nvSpPr>
        <p:spPr>
          <a:xfrm>
            <a:off x="2042866" y="5874061"/>
            <a:ext cx="512075" cy="323035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3C6D028-1A5F-421E-AFA7-E63479F7A7FE}"/>
              </a:ext>
            </a:extLst>
          </p:cNvPr>
          <p:cNvGrpSpPr/>
          <p:nvPr/>
        </p:nvGrpSpPr>
        <p:grpSpPr>
          <a:xfrm>
            <a:off x="11394140" y="89648"/>
            <a:ext cx="699247" cy="712111"/>
            <a:chOff x="11071411" y="89647"/>
            <a:chExt cx="1021977" cy="1533541"/>
          </a:xfrm>
        </p:grpSpPr>
        <p:sp>
          <p:nvSpPr>
            <p:cNvPr id="18" name="Action Button: Home 4">
              <a:hlinkClick r:id="rId6" action="ppaction://hlinksldjump" highlightClick="1"/>
              <a:extLst>
                <a:ext uri="{FF2B5EF4-FFF2-40B4-BE49-F238E27FC236}">
                  <a16:creationId xmlns:a16="http://schemas.microsoft.com/office/drawing/2014/main" id="{217B63B5-0D64-4F0C-98CF-5089D63EF28B}"/>
                </a:ext>
              </a:extLst>
            </p:cNvPr>
            <p:cNvSpPr/>
            <p:nvPr/>
          </p:nvSpPr>
          <p:spPr>
            <a:xfrm>
              <a:off x="11107271" y="89647"/>
              <a:ext cx="950258" cy="815788"/>
            </a:xfrm>
            <a:prstGeom prst="actionButtonHom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BE" sz="1200" dirty="0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39CA5CE-40F0-408C-B79B-A91EEB6566EB}"/>
                </a:ext>
              </a:extLst>
            </p:cNvPr>
            <p:cNvSpPr txBox="1"/>
            <p:nvPr/>
          </p:nvSpPr>
          <p:spPr>
            <a:xfrm>
              <a:off x="11071411" y="905434"/>
              <a:ext cx="1021977" cy="717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B</a:t>
              </a:r>
              <a:r>
                <a:rPr lang="en-BE" sz="1000"/>
                <a:t>ack to overvie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200092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7D6D8503-758C-4CD2-AD5D-AA1DF86DF2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5474" y="1655459"/>
            <a:ext cx="6037798" cy="4486964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2C6B5DB-169F-4A50-96D9-FA04EB5FA6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Manage User Profile – My Telenet</a:t>
            </a:r>
            <a:endParaRPr lang="nl-BE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679C06B4-840A-46A1-A5A7-2DD3AA7793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9A7E9CD0-DE80-4A52-B177-7EAB564BC0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5340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35E57A78-C1B4-4A2A-8CD6-21F2E37C67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1347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nl-BE" altLang="nl-BE" sz="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nl-BE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4180E21E-FBAE-412E-9F47-987ADE3C50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-2632364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A88E7CF1-38AE-416E-95E5-E17C307517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3339811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F8246F06-E9C5-45FD-B2BC-EF2F525CEC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109" y="8864311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B90F4926-C87E-4AB3-B432-06540CED12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D5F00DAE-0B56-4F23-B44C-A8261D58C5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0960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nl-BE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</a:t>
            </a:r>
            <a:endParaRPr kumimoji="0" lang="en-US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41B722E2-A9C7-48DE-9005-1BBD2F3174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7252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BE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7F2C065-4B45-4DF1-BE6C-6488906ADF6E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7242942" y="1494735"/>
            <a:ext cx="3980452" cy="43468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0389D830-93C0-416A-A4CB-361F09B94D89}"/>
              </a:ext>
            </a:extLst>
          </p:cNvPr>
          <p:cNvSpPr txBox="1">
            <a:spLocks/>
          </p:cNvSpPr>
          <p:nvPr/>
        </p:nvSpPr>
        <p:spPr>
          <a:xfrm>
            <a:off x="439084" y="1076572"/>
            <a:ext cx="3897784" cy="551956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/>
              <a:t>Select ‘</a:t>
            </a:r>
            <a:r>
              <a:rPr lang="en-US" sz="1600" err="1"/>
              <a:t>Beheer</a:t>
            </a:r>
            <a:r>
              <a:rPr lang="en-US" sz="1600"/>
              <a:t> </a:t>
            </a:r>
            <a:r>
              <a:rPr lang="en-US" sz="1600" err="1"/>
              <a:t>uw</a:t>
            </a:r>
            <a:r>
              <a:rPr lang="en-US" sz="1600"/>
              <a:t> </a:t>
            </a:r>
            <a:r>
              <a:rPr lang="en-US" sz="1600" err="1"/>
              <a:t>profiel</a:t>
            </a:r>
            <a:r>
              <a:rPr lang="en-US" sz="1600"/>
              <a:t>’</a:t>
            </a:r>
          </a:p>
          <a:p>
            <a:pPr marL="0" indent="0">
              <a:buNone/>
            </a:pPr>
            <a:br>
              <a:rPr lang="en-US" sz="1600"/>
            </a:br>
            <a:endParaRPr lang="en-US" sz="1600"/>
          </a:p>
          <a:p>
            <a:endParaRPr lang="nl-BE" sz="160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6E7F025A-515A-47F9-8516-183E0AF8B40C}"/>
              </a:ext>
            </a:extLst>
          </p:cNvPr>
          <p:cNvSpPr txBox="1">
            <a:spLocks/>
          </p:cNvSpPr>
          <p:nvPr/>
        </p:nvSpPr>
        <p:spPr>
          <a:xfrm>
            <a:off x="7399442" y="1099185"/>
            <a:ext cx="4353474" cy="551956"/>
          </a:xfrm>
          <a:prstGeom prst="rect">
            <a:avLst/>
          </a:prstGeom>
        </p:spPr>
        <p:txBody>
          <a:bodyPr lIns="0" tIns="108000" rIns="108000" bIns="108000" anchor="t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/>
              <a:t>You can change your profile setting</a:t>
            </a:r>
            <a:br>
              <a:rPr lang="en-US" sz="1600"/>
            </a:br>
            <a:endParaRPr lang="en-US" sz="1600">
              <a:cs typeface="Arial" panose="020B0604020202020204"/>
            </a:endParaRPr>
          </a:p>
          <a:p>
            <a:endParaRPr lang="nl-BE" sz="160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E398A88-CDBB-4727-9841-8F9C988C1F4B}"/>
              </a:ext>
            </a:extLst>
          </p:cNvPr>
          <p:cNvSpPr/>
          <p:nvPr/>
        </p:nvSpPr>
        <p:spPr>
          <a:xfrm>
            <a:off x="5067942" y="5083800"/>
            <a:ext cx="1193394" cy="323035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5FF58B8-C1D4-4127-A8FE-E7633F13598F}"/>
              </a:ext>
            </a:extLst>
          </p:cNvPr>
          <p:cNvGrpSpPr/>
          <p:nvPr/>
        </p:nvGrpSpPr>
        <p:grpSpPr>
          <a:xfrm>
            <a:off x="11394140" y="89648"/>
            <a:ext cx="699247" cy="712111"/>
            <a:chOff x="11071411" y="89647"/>
            <a:chExt cx="1021977" cy="1533541"/>
          </a:xfrm>
        </p:grpSpPr>
        <p:sp>
          <p:nvSpPr>
            <p:cNvPr id="19" name="Action Button: Home 4">
              <a:hlinkClick r:id="rId4" action="ppaction://hlinksldjump" highlightClick="1"/>
              <a:extLst>
                <a:ext uri="{FF2B5EF4-FFF2-40B4-BE49-F238E27FC236}">
                  <a16:creationId xmlns:a16="http://schemas.microsoft.com/office/drawing/2014/main" id="{01AD8CE7-559F-4C19-8200-A505739C117F}"/>
                </a:ext>
              </a:extLst>
            </p:cNvPr>
            <p:cNvSpPr/>
            <p:nvPr/>
          </p:nvSpPr>
          <p:spPr>
            <a:xfrm>
              <a:off x="11107271" y="89647"/>
              <a:ext cx="950258" cy="815788"/>
            </a:xfrm>
            <a:prstGeom prst="actionButtonHome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BE" sz="1200" dirty="0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69F7612E-E173-4099-B6C0-711EFA97339D}"/>
                </a:ext>
              </a:extLst>
            </p:cNvPr>
            <p:cNvSpPr txBox="1"/>
            <p:nvPr/>
          </p:nvSpPr>
          <p:spPr>
            <a:xfrm>
              <a:off x="11071411" y="905434"/>
              <a:ext cx="1021977" cy="717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/>
                <a:t>B</a:t>
              </a:r>
              <a:r>
                <a:rPr lang="en-BE" sz="1000"/>
                <a:t>ack to overvie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370061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A97C8740-953B-455E-839F-7EAAC6DD4D5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3" y="2726267"/>
            <a:ext cx="6678125" cy="2719625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4B56A79-D0B0-4A60-95D9-464DDF09FD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BE" dirty="0"/>
              <a:t>How to logon to the </a:t>
            </a:r>
            <a:r>
              <a:rPr lang="en-US" dirty="0"/>
              <a:t>My Telenet Zone </a:t>
            </a:r>
            <a:r>
              <a:rPr lang="en-BE" dirty="0"/>
              <a:t>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6A75B2-81C4-4109-B697-DFC2FE7ACE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ll fleet users need to self register to create a logon</a:t>
            </a:r>
            <a:endParaRPr lang="nl-B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5DD5D4-9281-43FB-930D-76F3ABAA1FD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Go to : </a:t>
            </a:r>
            <a:r>
              <a:rPr lang="en-GB" b="1" dirty="0">
                <a:hlinkClick r:id="rId3"/>
              </a:rPr>
              <a:t>https://www2.telenet.be/business/nl/klantenservice/ucc/gebruiker</a:t>
            </a:r>
            <a:endParaRPr lang="en-GB" b="1" dirty="0"/>
          </a:p>
          <a:p>
            <a:r>
              <a:rPr lang="en-US" dirty="0"/>
              <a:t>Press ‘</a:t>
            </a:r>
            <a:r>
              <a:rPr lang="en-US" dirty="0" err="1"/>
              <a:t>Aanmelden</a:t>
            </a:r>
            <a:r>
              <a:rPr lang="en-US" dirty="0"/>
              <a:t>’</a:t>
            </a:r>
          </a:p>
          <a:p>
            <a:r>
              <a:rPr lang="en-US" dirty="0"/>
              <a:t>Press ‘</a:t>
            </a:r>
            <a:r>
              <a:rPr lang="en-US" dirty="0" err="1"/>
              <a:t>nog</a:t>
            </a:r>
            <a:r>
              <a:rPr lang="en-US" dirty="0"/>
              <a:t> </a:t>
            </a:r>
            <a:r>
              <a:rPr lang="en-US" dirty="0" err="1"/>
              <a:t>geen</a:t>
            </a:r>
            <a:r>
              <a:rPr lang="en-US" dirty="0"/>
              <a:t> Login? </a:t>
            </a:r>
            <a:r>
              <a:rPr lang="en-US" dirty="0" err="1"/>
              <a:t>Maak</a:t>
            </a:r>
            <a:r>
              <a:rPr lang="en-US" dirty="0"/>
              <a:t> </a:t>
            </a:r>
            <a:r>
              <a:rPr lang="en-US" dirty="0" err="1"/>
              <a:t>er</a:t>
            </a:r>
            <a:r>
              <a:rPr lang="en-US" dirty="0"/>
              <a:t> </a:t>
            </a:r>
            <a:r>
              <a:rPr lang="en-US" dirty="0" err="1"/>
              <a:t>één</a:t>
            </a:r>
            <a:r>
              <a:rPr lang="en-US" dirty="0"/>
              <a:t> </a:t>
            </a:r>
            <a:r>
              <a:rPr lang="en-US" dirty="0" err="1"/>
              <a:t>aan</a:t>
            </a:r>
            <a:r>
              <a:rPr lang="en-US" dirty="0"/>
              <a:t>’</a:t>
            </a:r>
          </a:p>
          <a:p>
            <a:endParaRPr lang="nl-BE" dirty="0"/>
          </a:p>
          <a:p>
            <a:endParaRPr lang="nl-BE" dirty="0"/>
          </a:p>
          <a:p>
            <a:endParaRPr lang="nl-B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51BE9B8-36ED-4AAB-B86C-1A42411BF868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8743104" y="2236758"/>
            <a:ext cx="2548261" cy="3938165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0700D23E-C130-4487-ADCE-80BC4BF895FC}"/>
              </a:ext>
            </a:extLst>
          </p:cNvPr>
          <p:cNvSpPr/>
          <p:nvPr/>
        </p:nvSpPr>
        <p:spPr>
          <a:xfrm>
            <a:off x="2986356" y="4659430"/>
            <a:ext cx="1454727" cy="564583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D3BE640-AB5B-4F8F-9DE2-0D0B4EFBFCD0}"/>
              </a:ext>
            </a:extLst>
          </p:cNvPr>
          <p:cNvSpPr/>
          <p:nvPr/>
        </p:nvSpPr>
        <p:spPr>
          <a:xfrm>
            <a:off x="9205030" y="5320801"/>
            <a:ext cx="1454727" cy="564583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6160048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96BB416-8E62-4C7B-9EEB-0C8894A28D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Fleet user self registration</a:t>
            </a:r>
            <a:endParaRPr lang="nl-B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8E165D-751F-413B-B85D-0039552EC6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Choose the link for TB Mobile customers</a:t>
            </a:r>
            <a:endParaRPr lang="nl-BE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24C7833-489A-4ADF-AC2F-D236B7181A5B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646843" y="2018624"/>
            <a:ext cx="5731510" cy="3911600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78A3ED8D-73B4-419B-9D85-21A8335CDC6B}"/>
              </a:ext>
            </a:extLst>
          </p:cNvPr>
          <p:cNvSpPr/>
          <p:nvPr/>
        </p:nvSpPr>
        <p:spPr>
          <a:xfrm>
            <a:off x="646844" y="4659430"/>
            <a:ext cx="4549410" cy="564583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1530326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5ECC5DE-DD0C-4235-9AEF-611746042E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Fleet user self registration</a:t>
            </a:r>
            <a:endParaRPr lang="nl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237C4D-623F-49A2-B8C6-AA748AEA2A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D42EC4-A5A6-469E-837C-5F5FCEA765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Fill in mobile number and follow the steps via ‘</a:t>
            </a:r>
            <a:r>
              <a:rPr lang="en-US" err="1"/>
              <a:t>Volgende</a:t>
            </a:r>
            <a:r>
              <a:rPr lang="en-US"/>
              <a:t>’ link – until mobile number is confirme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C6717A6-615D-4E58-B2B4-659D25EC89FC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87549" y="2374697"/>
            <a:ext cx="5731510" cy="331597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54D1A11-693F-45E6-9BF3-F965FF225D2B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6095999" y="2250371"/>
            <a:ext cx="5731510" cy="3345180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1603CE71-A8D9-4EB4-AED0-1E73FD52896E}"/>
              </a:ext>
            </a:extLst>
          </p:cNvPr>
          <p:cNvSpPr/>
          <p:nvPr/>
        </p:nvSpPr>
        <p:spPr>
          <a:xfrm>
            <a:off x="4641272" y="5322051"/>
            <a:ext cx="1454727" cy="486341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7838464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1D025E-EED2-4F15-A86C-14BA8E3A6F7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Fleet user self registration</a:t>
            </a:r>
            <a:endParaRPr lang="nl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81CC70-459B-4B59-80E0-ECEDEB9986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135CCD-DA11-4701-BF9C-596DB0FFEE5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Confirm the link in the email to complete your personal login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nl-B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4550C16-7CBE-4D0F-9131-D7DDB195E2A0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877663" y="2086252"/>
            <a:ext cx="3428007" cy="4143384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D4A96CA3-913E-4CD6-824B-606A163E4FA0}"/>
              </a:ext>
            </a:extLst>
          </p:cNvPr>
          <p:cNvSpPr/>
          <p:nvPr/>
        </p:nvSpPr>
        <p:spPr>
          <a:xfrm>
            <a:off x="877663" y="3922961"/>
            <a:ext cx="2524960" cy="486341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6286039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3FE14E-46BD-0A4A-B6BF-197B808DA1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BE" dirty="0"/>
              <a:t>How to logon to the </a:t>
            </a:r>
            <a:r>
              <a:rPr lang="en-US" dirty="0"/>
              <a:t>My Telenet Zone </a:t>
            </a:r>
            <a:r>
              <a:rPr lang="en-BE" dirty="0"/>
              <a:t>?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EDE674F-8768-3343-B1D3-2291CCD49E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3" y="1058400"/>
            <a:ext cx="11090272" cy="626838"/>
          </a:xfrm>
        </p:spPr>
        <p:txBody>
          <a:bodyPr/>
          <a:lstStyle/>
          <a:p>
            <a:r>
              <a:rPr lang="en-GB">
                <a:hlinkClick r:id="rId2"/>
              </a:rPr>
              <a:t>https://www2.telenet.be/business/nl/klantenservice/ucc/gebruiker</a:t>
            </a:r>
            <a:endParaRPr lang="en-GB"/>
          </a:p>
          <a:p>
            <a:endParaRPr lang="en-B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1532125-8EA6-E44F-A50F-25FDA1DDCFC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72865" y="1620027"/>
            <a:ext cx="4368270" cy="4771525"/>
          </a:xfrm>
        </p:spPr>
        <p:txBody>
          <a:bodyPr/>
          <a:lstStyle/>
          <a:p>
            <a:r>
              <a:rPr lang="en-GB" sz="1600" dirty="0"/>
              <a:t>After fleet user registration, navigate to the My Telenet </a:t>
            </a:r>
            <a:r>
              <a:rPr lang="en-GB" sz="1600" dirty="0" err="1"/>
              <a:t>url</a:t>
            </a:r>
            <a:endParaRPr lang="en-GB" sz="1600" dirty="0"/>
          </a:p>
          <a:p>
            <a:endParaRPr lang="en-GB" sz="1600" dirty="0"/>
          </a:p>
          <a:p>
            <a:r>
              <a:rPr lang="en-GB" sz="1600" dirty="0"/>
              <a:t>E</a:t>
            </a:r>
            <a:r>
              <a:rPr lang="en-BE" sz="1600" dirty="0"/>
              <a:t>nter your </a:t>
            </a:r>
            <a:r>
              <a:rPr lang="en-US" sz="1600" dirty="0"/>
              <a:t>user </a:t>
            </a:r>
            <a:r>
              <a:rPr lang="en-BE" sz="1600" dirty="0"/>
              <a:t>credentials</a:t>
            </a:r>
            <a:endParaRPr lang="en-US" sz="1600" dirty="0"/>
          </a:p>
          <a:p>
            <a:r>
              <a:rPr lang="en-US" sz="1600" dirty="0"/>
              <a:t>Press ‘</a:t>
            </a:r>
            <a:r>
              <a:rPr lang="en-US" sz="1600" dirty="0" err="1"/>
              <a:t>Aanmelden</a:t>
            </a:r>
            <a:r>
              <a:rPr lang="en-US" sz="1600" dirty="0"/>
              <a:t>’</a:t>
            </a:r>
            <a:endParaRPr lang="en-BE" sz="1600" dirty="0"/>
          </a:p>
        </p:txBody>
      </p:sp>
      <p:pic>
        <p:nvPicPr>
          <p:cNvPr id="10" name="Picture 9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1EB95655-DDB6-864E-8AF1-26B325651F3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4096" y="1620027"/>
            <a:ext cx="2127857" cy="46058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FF990CEB-B877-4F80-A977-011F46A7E8D5}"/>
              </a:ext>
            </a:extLst>
          </p:cNvPr>
          <p:cNvSpPr/>
          <p:nvPr/>
        </p:nvSpPr>
        <p:spPr>
          <a:xfrm>
            <a:off x="1948864" y="3577976"/>
            <a:ext cx="2350574" cy="564583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549668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3FE14E-46BD-0A4A-B6BF-197B808DA1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BE" dirty="0"/>
              <a:t>How to logon to the </a:t>
            </a:r>
            <a:r>
              <a:rPr lang="en-US" dirty="0"/>
              <a:t>My Telenet Zone </a:t>
            </a:r>
            <a:r>
              <a:rPr lang="en-BE" dirty="0"/>
              <a:t>?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EDE674F-8768-3343-B1D3-2291CCD49E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5" y="1058400"/>
            <a:ext cx="11090272" cy="626838"/>
          </a:xfrm>
        </p:spPr>
        <p:txBody>
          <a:bodyPr/>
          <a:lstStyle/>
          <a:p>
            <a:r>
              <a:rPr lang="en-GB">
                <a:hlinkClick r:id="rId2"/>
              </a:rPr>
              <a:t>https://www2.telenet.be/business/nl/klantenservice/ucc/gebruiker</a:t>
            </a:r>
            <a:endParaRPr lang="en-GB"/>
          </a:p>
          <a:p>
            <a:endParaRPr lang="en-B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1532125-8EA6-E44F-A50F-25FDA1DDCFC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72867" y="2379133"/>
            <a:ext cx="4368270" cy="4771525"/>
          </a:xfrm>
        </p:spPr>
        <p:txBody>
          <a:bodyPr/>
          <a:lstStyle/>
          <a:p>
            <a:r>
              <a:rPr lang="en-US" sz="1600" dirty="0"/>
              <a:t>The My Telenet dashboard loads after successful log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5E4DD41-68A5-4A60-A5BC-8D00D48E27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2042" y="1520169"/>
            <a:ext cx="6600825" cy="4905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5039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3FE14E-46BD-0A4A-B6BF-197B808DA1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BE"/>
              <a:t>How to </a:t>
            </a:r>
            <a:r>
              <a:rPr lang="en-US"/>
              <a:t>Set up the Telenet App </a:t>
            </a:r>
            <a:r>
              <a:rPr lang="en-BE"/>
              <a:t>?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CF2FE34-BCE2-4F77-912F-2B17033DCF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09619" y="1537199"/>
            <a:ext cx="4695841" cy="4771525"/>
          </a:xfrm>
        </p:spPr>
        <p:txBody>
          <a:bodyPr/>
          <a:lstStyle/>
          <a:p>
            <a:endParaRPr lang="en-US" sz="1600" dirty="0"/>
          </a:p>
          <a:p>
            <a:r>
              <a:rPr lang="en-GB" sz="1600" dirty="0"/>
              <a:t>After fleet user registration, o</a:t>
            </a:r>
            <a:r>
              <a:rPr lang="en-US" sz="1600" dirty="0"/>
              <a:t>pen the app store of your mobile device</a:t>
            </a:r>
          </a:p>
          <a:p>
            <a:endParaRPr lang="en-US" sz="1600" dirty="0"/>
          </a:p>
          <a:p>
            <a:r>
              <a:rPr lang="en-US" sz="1600" dirty="0"/>
              <a:t>Search for Telenet</a:t>
            </a:r>
          </a:p>
          <a:p>
            <a:endParaRPr lang="en-US" sz="1600" dirty="0"/>
          </a:p>
          <a:p>
            <a:r>
              <a:rPr lang="en-US" sz="1600" dirty="0"/>
              <a:t>Select and install Telenet App</a:t>
            </a:r>
          </a:p>
          <a:p>
            <a:pPr marL="457200" lvl="1" indent="0">
              <a:buNone/>
            </a:pPr>
            <a:endParaRPr lang="en-US" sz="1600" dirty="0"/>
          </a:p>
          <a:p>
            <a:endParaRPr lang="nl-BE" sz="1600" dirty="0"/>
          </a:p>
        </p:txBody>
      </p:sp>
      <p:pic>
        <p:nvPicPr>
          <p:cNvPr id="15362" name="Picture 2">
            <a:extLst>
              <a:ext uri="{FF2B5EF4-FFF2-40B4-BE49-F238E27FC236}">
                <a16:creationId xmlns:a16="http://schemas.microsoft.com/office/drawing/2014/main" id="{9B8149D7-647E-46B0-A1FE-34386349B8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2780" y="1370152"/>
            <a:ext cx="2013171" cy="43570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837851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jpeg"/></Relationships>
</file>

<file path=ppt/theme/theme1.xml><?xml version="1.0" encoding="utf-8"?>
<a:theme xmlns:a="http://schemas.openxmlformats.org/drawingml/2006/main" name="Darwin theme">
  <a:themeElements>
    <a:clrScheme name="Telenet 2016">
      <a:dk1>
        <a:srgbClr val="000000"/>
      </a:dk1>
      <a:lt1>
        <a:sysClr val="window" lastClr="FFFFFF"/>
      </a:lt1>
      <a:dk2>
        <a:srgbClr val="676767"/>
      </a:dk2>
      <a:lt2>
        <a:srgbClr val="FFFFFF"/>
      </a:lt2>
      <a:accent1>
        <a:srgbClr val="FFC421"/>
      </a:accent1>
      <a:accent2>
        <a:srgbClr val="E8327C"/>
      </a:accent2>
      <a:accent3>
        <a:srgbClr val="00AEC9"/>
      </a:accent3>
      <a:accent4>
        <a:srgbClr val="249B98"/>
      </a:accent4>
      <a:accent5>
        <a:srgbClr val="F4A9C5"/>
      </a:accent5>
      <a:accent6>
        <a:srgbClr val="88CDD3"/>
      </a:accent6>
      <a:hlink>
        <a:srgbClr val="0000FF"/>
      </a:hlink>
      <a:folHlink>
        <a:srgbClr val="800080"/>
      </a:folHlink>
    </a:clrScheme>
    <a:fontScheme name="-Telenet">
      <a:majorFont>
        <a:latin typeface="OmnesMSC Semi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OmnesMSC Regular"/>
        <a:ea typeface=""/>
        <a:cs typeface=""/>
        <a:font script="Jpan" typeface="ＭＳ Ｐ明朝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arwin theme" id="{D25778FA-2913-4BCF-AA11-90F0CFDE3C93}" vid="{DA18F1B3-745C-4CC6-AE4C-5632B726DC7E}"/>
    </a:ext>
  </a:extLst>
</a:theme>
</file>

<file path=ppt/theme/theme2.xml><?xml version="1.0" encoding="utf-8"?>
<a:theme xmlns:a="http://schemas.openxmlformats.org/drawingml/2006/main" name="Telenet White No Logo">
  <a:themeElements>
    <a:clrScheme name="Custom 9">
      <a:dk1>
        <a:srgbClr val="333333"/>
      </a:dk1>
      <a:lt1>
        <a:srgbClr val="FFFFFF"/>
      </a:lt1>
      <a:dk2>
        <a:srgbClr val="565656"/>
      </a:dk2>
      <a:lt2>
        <a:srgbClr val="999999"/>
      </a:lt2>
      <a:accent1>
        <a:srgbClr val="F9B923"/>
      </a:accent1>
      <a:accent2>
        <a:srgbClr val="E5007D"/>
      </a:accent2>
      <a:accent3>
        <a:srgbClr val="009999"/>
      </a:accent3>
      <a:accent4>
        <a:srgbClr val="99CC00"/>
      </a:accent4>
      <a:accent5>
        <a:srgbClr val="DB5720"/>
      </a:accent5>
      <a:accent6>
        <a:srgbClr val="95451F"/>
      </a:accent6>
      <a:hlink>
        <a:srgbClr val="009999"/>
      </a:hlink>
      <a:folHlink>
        <a:srgbClr val="99CC00"/>
      </a:folHlink>
    </a:clrScheme>
    <a:fontScheme name="-Telenet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Arial"/>
        <a:ea typeface=""/>
        <a:cs typeface=""/>
        <a:font script="Jpan" typeface="ＭＳ Ｐ明朝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9B923"/>
        </a:soli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lIns="0" tIns="0" rIns="0" bIns="0"/>
      <a:lstStyle>
        <a:defPPr algn="l">
          <a:defRPr sz="1800" dirty="0"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5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  <a:txDef>
      <a:spPr>
        <a:noFill/>
      </a:spPr>
      <a:bodyPr wrap="square" lIns="0" tIns="0" rIns="0" bIns="0" rtlCol="0" anchor="t" anchorCtr="0">
        <a:normAutofit/>
      </a:bodyPr>
      <a:lstStyle>
        <a:defPPr algn="l">
          <a:defRPr sz="1800" dirty="0" err="1" smtClean="0">
            <a:solidFill>
              <a:schemeClr val="tx1"/>
            </a:solidFill>
            <a:latin typeface="Arial"/>
            <a:cs typeface="Arial"/>
          </a:defRPr>
        </a:defPPr>
      </a:lstStyle>
    </a:txDef>
  </a:objectDefaults>
  <a:extraClrSchemeLst>
    <a:extraClrScheme>
      <a:clrScheme name="M Header + M 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Telenet White No Logo">
  <a:themeElements>
    <a:clrScheme name="Custom 9">
      <a:dk1>
        <a:srgbClr val="333333"/>
      </a:dk1>
      <a:lt1>
        <a:srgbClr val="FFFFFF"/>
      </a:lt1>
      <a:dk2>
        <a:srgbClr val="565656"/>
      </a:dk2>
      <a:lt2>
        <a:srgbClr val="999999"/>
      </a:lt2>
      <a:accent1>
        <a:srgbClr val="F9B923"/>
      </a:accent1>
      <a:accent2>
        <a:srgbClr val="E5007D"/>
      </a:accent2>
      <a:accent3>
        <a:srgbClr val="009999"/>
      </a:accent3>
      <a:accent4>
        <a:srgbClr val="99CC00"/>
      </a:accent4>
      <a:accent5>
        <a:srgbClr val="DB5720"/>
      </a:accent5>
      <a:accent6>
        <a:srgbClr val="95451F"/>
      </a:accent6>
      <a:hlink>
        <a:srgbClr val="009999"/>
      </a:hlink>
      <a:folHlink>
        <a:srgbClr val="99CC00"/>
      </a:folHlink>
    </a:clrScheme>
    <a:fontScheme name="-Telenet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Arial"/>
        <a:ea typeface=""/>
        <a:cs typeface=""/>
        <a:font script="Jpan" typeface="ＭＳ Ｐ明朝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9B923"/>
        </a:soli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lIns="0" tIns="0" rIns="0" bIns="0"/>
      <a:lstStyle>
        <a:defPPr algn="l">
          <a:defRPr sz="1800" dirty="0"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5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  <a:txDef>
      <a:spPr>
        <a:noFill/>
      </a:spPr>
      <a:bodyPr wrap="square" lIns="0" tIns="0" rIns="0" bIns="0" rtlCol="0" anchor="t" anchorCtr="0">
        <a:normAutofit/>
      </a:bodyPr>
      <a:lstStyle>
        <a:defPPr algn="l">
          <a:defRPr sz="1800" dirty="0" err="1" smtClean="0">
            <a:solidFill>
              <a:schemeClr val="tx1"/>
            </a:solidFill>
            <a:latin typeface="Arial"/>
            <a:cs typeface="Arial"/>
          </a:defRPr>
        </a:defPPr>
      </a:lstStyle>
    </a:txDef>
  </a:objectDefaults>
  <a:extraClrSchemeLst>
    <a:extraClrScheme>
      <a:clrScheme name="M Header + M Bullet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02TEL16314_PPT_TemplateArial_16-9">
  <a:themeElements>
    <a:clrScheme name="Telenet 2016">
      <a:dk1>
        <a:srgbClr val="000000"/>
      </a:dk1>
      <a:lt1>
        <a:sysClr val="window" lastClr="FFFFFF"/>
      </a:lt1>
      <a:dk2>
        <a:srgbClr val="676767"/>
      </a:dk2>
      <a:lt2>
        <a:srgbClr val="FFFFFF"/>
      </a:lt2>
      <a:accent1>
        <a:srgbClr val="FFC421"/>
      </a:accent1>
      <a:accent2>
        <a:srgbClr val="E8327C"/>
      </a:accent2>
      <a:accent3>
        <a:srgbClr val="00AEC9"/>
      </a:accent3>
      <a:accent4>
        <a:srgbClr val="249B98"/>
      </a:accent4>
      <a:accent5>
        <a:srgbClr val="F4A9C5"/>
      </a:accent5>
      <a:accent6>
        <a:srgbClr val="88CDD3"/>
      </a:accent6>
      <a:hlink>
        <a:srgbClr val="0000FF"/>
      </a:hlink>
      <a:folHlink>
        <a:srgbClr val="800080"/>
      </a:folHlink>
    </a:clrScheme>
    <a:fontScheme name="-Telenet">
      <a:majorFont>
        <a:latin typeface="OmnesMSC Semi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OmnesMSC Regular"/>
        <a:ea typeface=""/>
        <a:cs typeface=""/>
        <a:font script="Jpan" typeface="ＭＳ Ｐ明朝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elenet_Business_template2017">
  <a:themeElements>
    <a:clrScheme name="Telenet B2B">
      <a:dk1>
        <a:srgbClr val="000000"/>
      </a:dk1>
      <a:lt1>
        <a:srgbClr val="FFFFFF"/>
      </a:lt1>
      <a:dk2>
        <a:srgbClr val="FFFFFF"/>
      </a:dk2>
      <a:lt2>
        <a:srgbClr val="000000"/>
      </a:lt2>
      <a:accent1>
        <a:srgbClr val="FFC421"/>
      </a:accent1>
      <a:accent2>
        <a:srgbClr val="F4A9C5"/>
      </a:accent2>
      <a:accent3>
        <a:srgbClr val="88CDD3"/>
      </a:accent3>
      <a:accent4>
        <a:srgbClr val="249B98"/>
      </a:accent4>
      <a:accent5>
        <a:srgbClr val="E8327C"/>
      </a:accent5>
      <a:accent6>
        <a:srgbClr val="002060"/>
      </a:accent6>
      <a:hlink>
        <a:srgbClr val="0000FF"/>
      </a:hlink>
      <a:folHlink>
        <a:srgbClr val="800080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81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wrap="square" rtlCol="0">
        <a:spAutoFit/>
      </a:bodyPr>
      <a:lstStyle>
        <a:defPPr>
          <a:defRPr sz="12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lenet Business template 2017 - Final [Read-Only]" id="{AB099B5C-1CCC-41DA-818E-08BAEDFDC656}" vid="{F6837518-5162-44D3-B0D9-232B5B83180B}"/>
    </a:ext>
  </a:extLst>
</a:theme>
</file>

<file path=ppt/theme/theme6.xml><?xml version="1.0" encoding="utf-8"?>
<a:theme xmlns:a="http://schemas.openxmlformats.org/drawingml/2006/main" name="Telenet Business template 2017bis">
  <a:themeElements>
    <a:clrScheme name="Telenet B2B">
      <a:dk1>
        <a:srgbClr val="000000"/>
      </a:dk1>
      <a:lt1>
        <a:srgbClr val="FFFFFF"/>
      </a:lt1>
      <a:dk2>
        <a:srgbClr val="FFFFFF"/>
      </a:dk2>
      <a:lt2>
        <a:srgbClr val="000000"/>
      </a:lt2>
      <a:accent1>
        <a:srgbClr val="FFC421"/>
      </a:accent1>
      <a:accent2>
        <a:srgbClr val="F4A9C5"/>
      </a:accent2>
      <a:accent3>
        <a:srgbClr val="88CDD3"/>
      </a:accent3>
      <a:accent4>
        <a:srgbClr val="249B98"/>
      </a:accent4>
      <a:accent5>
        <a:srgbClr val="E8327C"/>
      </a:accent5>
      <a:accent6>
        <a:srgbClr val="002060"/>
      </a:accent6>
      <a:hlink>
        <a:srgbClr val="0000FF"/>
      </a:hlink>
      <a:folHlink>
        <a:srgbClr val="800080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81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wrap="square" rtlCol="0">
        <a:spAutoFit/>
      </a:bodyPr>
      <a:lstStyle>
        <a:defPPr>
          <a:defRPr sz="12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lenet Business template 2017bis" id="{46353AC2-880A-48ED-93C3-A146BB276099}" vid="{952D34C4-83BD-40DB-B1F6-09CA406F3725}"/>
    </a:ext>
  </a:extLst>
</a:theme>
</file>

<file path=ppt/theme/theme7.xml><?xml version="1.0" encoding="utf-8"?>
<a:theme xmlns:a="http://schemas.openxmlformats.org/drawingml/2006/main" name="ThemeTB2019">
  <a:themeElements>
    <a:clrScheme name="Custom 12">
      <a:dk1>
        <a:srgbClr val="000000"/>
      </a:dk1>
      <a:lt1>
        <a:srgbClr val="FFFFFF"/>
      </a:lt1>
      <a:dk2>
        <a:srgbClr val="575756"/>
      </a:dk2>
      <a:lt2>
        <a:srgbClr val="E7E6E6"/>
      </a:lt2>
      <a:accent1>
        <a:srgbClr val="FFC320"/>
      </a:accent1>
      <a:accent2>
        <a:srgbClr val="239A98"/>
      </a:accent2>
      <a:accent3>
        <a:srgbClr val="F5B0A3"/>
      </a:accent3>
      <a:accent4>
        <a:srgbClr val="D9415C"/>
      </a:accent4>
      <a:accent5>
        <a:srgbClr val="68B5C8"/>
      </a:accent5>
      <a:accent6>
        <a:srgbClr val="A8D0C0"/>
      </a:accent6>
      <a:hlink>
        <a:srgbClr val="575756"/>
      </a:hlink>
      <a:folHlink>
        <a:srgbClr val="EE742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TB2019" id="{15A0B37D-CAE3-41CE-BCA0-B9F5FEB432EA}" vid="{56DFBF71-F965-4965-A6DF-7C5905516836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00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01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02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03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04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05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06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07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08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09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1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10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11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12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13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14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15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16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17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18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19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2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20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21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22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23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24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25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26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27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28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3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4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5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6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7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8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19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20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21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22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23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24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25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26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27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28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29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30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31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32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33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34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35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36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37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38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39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40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41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42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43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44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45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46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47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48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49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50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51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52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53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54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55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56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57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58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59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60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61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62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63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64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65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66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67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68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69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7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70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71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72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73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74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75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76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77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78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79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8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80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81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82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83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84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85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86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87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88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89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9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90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91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92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93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94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95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96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97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98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ppt/theme/themeOverride99.xml><?xml version="1.0" encoding="utf-8"?>
<a:themeOverride xmlns:a="http://schemas.openxmlformats.org/drawingml/2006/main">
  <a:clrScheme name="Telenet 2016">
    <a:dk1>
      <a:srgbClr val="000000"/>
    </a:dk1>
    <a:lt1>
      <a:sysClr val="window" lastClr="FFFFFF"/>
    </a:lt1>
    <a:dk2>
      <a:srgbClr val="676767"/>
    </a:dk2>
    <a:lt2>
      <a:srgbClr val="FFFFFF"/>
    </a:lt2>
    <a:accent1>
      <a:srgbClr val="FFC421"/>
    </a:accent1>
    <a:accent2>
      <a:srgbClr val="E8327C"/>
    </a:accent2>
    <a:accent3>
      <a:srgbClr val="00AEC9"/>
    </a:accent3>
    <a:accent4>
      <a:srgbClr val="249B98"/>
    </a:accent4>
    <a:accent5>
      <a:srgbClr val="F4A9C5"/>
    </a:accent5>
    <a:accent6>
      <a:srgbClr val="88CDD3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E4A4991540A5647BC87A277325AEF5A" ma:contentTypeVersion="11" ma:contentTypeDescription="Een nieuw document maken." ma:contentTypeScope="" ma:versionID="5ca7962ee1348802693eb513ee55b5d9">
  <xsd:schema xmlns:xsd="http://www.w3.org/2001/XMLSchema" xmlns:xs="http://www.w3.org/2001/XMLSchema" xmlns:p="http://schemas.microsoft.com/office/2006/metadata/properties" xmlns:ns2="c21b2862-532a-4571-9fbe-f534de597631" xmlns:ns3="25983571-befc-487a-a2df-e06637e6ff2e" targetNamespace="http://schemas.microsoft.com/office/2006/metadata/properties" ma:root="true" ma:fieldsID="33a69a1c971ca0f3794bb697d40063a0" ns2:_="" ns3:_="">
    <xsd:import namespace="c21b2862-532a-4571-9fbe-f534de597631"/>
    <xsd:import namespace="25983571-befc-487a-a2df-e06637e6ff2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1b2862-532a-4571-9fbe-f534de59763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983571-befc-487a-a2df-e06637e6ff2e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98EACAA-5DA4-4645-BAC8-3C5F0C4012A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B38B173-3681-481B-8766-5DA8EB06980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21b2862-532a-4571-9fbe-f534de597631"/>
    <ds:schemaRef ds:uri="25983571-befc-487a-a2df-e06637e6ff2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6467322-7D23-45DE-B14B-82118D991E55}">
  <ds:schemaRefs>
    <ds:schemaRef ds:uri="http://purl.org/dc/terms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c21b2862-532a-4571-9fbe-f534de597631"/>
    <ds:schemaRef ds:uri="25983571-befc-487a-a2df-e06637e6ff2e"/>
    <ds:schemaRef ds:uri="http://www.w3.org/XML/1998/namespace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arwin theme</Template>
  <TotalTime>112</TotalTime>
  <Words>570</Words>
  <Application>Microsoft Office PowerPoint</Application>
  <PresentationFormat>Widescreen</PresentationFormat>
  <Paragraphs>144</Paragraphs>
  <Slides>2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48" baseType="lpstr">
      <vt:lpstr>Arial</vt:lpstr>
      <vt:lpstr>Arial Black</vt:lpstr>
      <vt:lpstr>Arial Bold</vt:lpstr>
      <vt:lpstr>BloomSpeakTitle-Medium</vt:lpstr>
      <vt:lpstr>BloomSpeakTitle-UltraHeavy</vt:lpstr>
      <vt:lpstr>Calibri</vt:lpstr>
      <vt:lpstr>Helvetica</vt:lpstr>
      <vt:lpstr>Lucida Grande</vt:lpstr>
      <vt:lpstr>Omnes Bold Roman</vt:lpstr>
      <vt:lpstr>Omnes Regular Roman</vt:lpstr>
      <vt:lpstr>Omnes Semibold Roman</vt:lpstr>
      <vt:lpstr>OmnesMSC Regular</vt:lpstr>
      <vt:lpstr>OmnesMSC Semibold</vt:lpstr>
      <vt:lpstr>Wingdings</vt:lpstr>
      <vt:lpstr>Darwin theme</vt:lpstr>
      <vt:lpstr>Telenet White No Logo</vt:lpstr>
      <vt:lpstr>1_Telenet White No Logo</vt:lpstr>
      <vt:lpstr>1_02TEL16314_PPT_TemplateArial_16-9</vt:lpstr>
      <vt:lpstr>Telenet_Business_template2017</vt:lpstr>
      <vt:lpstr>Telenet Business template 2017bis</vt:lpstr>
      <vt:lpstr>ThemeTB2019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Telenet BVB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nssens Anne-Sophie</dc:creator>
  <cp:lastModifiedBy>Isabel</cp:lastModifiedBy>
  <cp:revision>10</cp:revision>
  <dcterms:created xsi:type="dcterms:W3CDTF">2019-05-31T07:42:22Z</dcterms:created>
  <dcterms:modified xsi:type="dcterms:W3CDTF">2021-02-15T15:28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E4A4991540A5647BC87A277325AEF5A</vt:lpwstr>
  </property>
</Properties>
</file>